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2"/>
  </p:notesMasterIdLst>
  <p:sldIdLst>
    <p:sldId id="256" r:id="rId5"/>
    <p:sldId id="264" r:id="rId6"/>
    <p:sldId id="265" r:id="rId7"/>
    <p:sldId id="266" r:id="rId8"/>
    <p:sldId id="267" r:id="rId9"/>
    <p:sldId id="268" r:id="rId10"/>
    <p:sldId id="272" r:id="rId11"/>
    <p:sldId id="273" r:id="rId12"/>
    <p:sldId id="274" r:id="rId13"/>
    <p:sldId id="275" r:id="rId14"/>
    <p:sldId id="276" r:id="rId15"/>
    <p:sldId id="277" r:id="rId16"/>
    <p:sldId id="278" r:id="rId17"/>
    <p:sldId id="279" r:id="rId18"/>
    <p:sldId id="280" r:id="rId19"/>
    <p:sldId id="281" r:id="rId20"/>
    <p:sldId id="282" r:id="rId21"/>
    <p:sldId id="283" r:id="rId22"/>
    <p:sldId id="285" r:id="rId23"/>
    <p:sldId id="286" r:id="rId24"/>
    <p:sldId id="284" r:id="rId25"/>
    <p:sldId id="287" r:id="rId26"/>
    <p:sldId id="3127" r:id="rId27"/>
    <p:sldId id="290" r:id="rId28"/>
    <p:sldId id="291" r:id="rId29"/>
    <p:sldId id="293" r:id="rId30"/>
    <p:sldId id="294" r:id="rId31"/>
  </p:sldIdLst>
  <p:sldSz cx="9144000" cy="6858000" type="screen4x3"/>
  <p:notesSz cx="6950075" cy="9236075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4320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6" pos="57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ad Kostka" initials="BK" lastIdx="0" clrIdx="0">
    <p:extLst>
      <p:ext uri="{19B8F6BF-5375-455C-9EA6-DF929625EA0E}">
        <p15:presenceInfo xmlns:p15="http://schemas.microsoft.com/office/powerpoint/2012/main" userId="S::bkostka@roopco.com::5bf04b9e-3f2b-4203-8d7a-b84b746d51c3" providerId="AD"/>
      </p:ext>
    </p:extLst>
  </p:cmAuthor>
  <p:cmAuthor id="2" name="Joe Toula" initials="JT" lastIdx="0" clrIdx="1">
    <p:extLst>
      <p:ext uri="{19B8F6BF-5375-455C-9EA6-DF929625EA0E}">
        <p15:presenceInfo xmlns:p15="http://schemas.microsoft.com/office/powerpoint/2012/main" userId="S::jtoula@rpminc.com::2df48d24-f262-454e-ad9c-9a6f9fc72b19" providerId="AD"/>
      </p:ext>
    </p:extLst>
  </p:cmAuthor>
  <p:cmAuthor id="3" name="Cain, Caroline" initials="CC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5ACF2D-AAED-4E01-8D4A-3AB1C9648C92}" v="11" dt="2024-03-25T18:22:53.696"/>
    <p1510:client id="{5F9A5095-15C7-4BF8-A3D7-9D6D94260068}" v="455" dt="2024-03-25T15:14:30.2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53" autoAdjust="0"/>
    <p:restoredTop sz="95187" autoAdjust="0"/>
  </p:normalViewPr>
  <p:slideViewPr>
    <p:cSldViewPr snapToGrid="0">
      <p:cViewPr varScale="1">
        <p:scale>
          <a:sx n="108" d="100"/>
          <a:sy n="108" d="100"/>
        </p:scale>
        <p:origin x="1662" y="150"/>
      </p:cViewPr>
      <p:guideLst>
        <p:guide orient="horz" pos="2184"/>
        <p:guide pos="2880"/>
        <p:guide orient="horz" pos="4320"/>
        <p:guide orient="horz"/>
        <p:guide pos="5760"/>
      </p:guideLst>
    </p:cSldViewPr>
  </p:slideViewPr>
  <p:outlineViewPr>
    <p:cViewPr>
      <p:scale>
        <a:sx n="33" d="100"/>
        <a:sy n="33" d="100"/>
      </p:scale>
      <p:origin x="0" y="-944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elley Earl" userId="4951d46f-b647-4b3c-b822-5808962dcca8" providerId="ADAL" clId="{5F9A5095-15C7-4BF8-A3D7-9D6D94260068}"/>
    <pc:docChg chg="undo custSel addSld delSld modSld sldOrd">
      <pc:chgData name="Shelley Earl" userId="4951d46f-b647-4b3c-b822-5808962dcca8" providerId="ADAL" clId="{5F9A5095-15C7-4BF8-A3D7-9D6D94260068}" dt="2024-03-25T15:16:22.607" v="1141" actId="47"/>
      <pc:docMkLst>
        <pc:docMk/>
      </pc:docMkLst>
      <pc:sldChg chg="modSp mod">
        <pc:chgData name="Shelley Earl" userId="4951d46f-b647-4b3c-b822-5808962dcca8" providerId="ADAL" clId="{5F9A5095-15C7-4BF8-A3D7-9D6D94260068}" dt="2024-03-25T15:13:42.543" v="1028" actId="20577"/>
        <pc:sldMkLst>
          <pc:docMk/>
          <pc:sldMk cId="2097898915" sldId="264"/>
        </pc:sldMkLst>
        <pc:spChg chg="mod">
          <ac:chgData name="Shelley Earl" userId="4951d46f-b647-4b3c-b822-5808962dcca8" providerId="ADAL" clId="{5F9A5095-15C7-4BF8-A3D7-9D6D94260068}" dt="2024-03-25T15:13:42.543" v="1028" actId="20577"/>
          <ac:spMkLst>
            <pc:docMk/>
            <pc:sldMk cId="2097898915" sldId="264"/>
            <ac:spMk id="8" creationId="{87671493-6848-DBAF-4C09-CA1EE485840B}"/>
          </ac:spMkLst>
        </pc:spChg>
      </pc:sldChg>
      <pc:sldChg chg="modSp">
        <pc:chgData name="Shelley Earl" userId="4951d46f-b647-4b3c-b822-5808962dcca8" providerId="ADAL" clId="{5F9A5095-15C7-4BF8-A3D7-9D6D94260068}" dt="2024-03-25T14:32:37.392" v="19" actId="20577"/>
        <pc:sldMkLst>
          <pc:docMk/>
          <pc:sldMk cId="3009587968" sldId="268"/>
        </pc:sldMkLst>
        <pc:graphicFrameChg chg="mod">
          <ac:chgData name="Shelley Earl" userId="4951d46f-b647-4b3c-b822-5808962dcca8" providerId="ADAL" clId="{5F9A5095-15C7-4BF8-A3D7-9D6D94260068}" dt="2024-03-25T14:32:37.392" v="19" actId="20577"/>
          <ac:graphicFrameMkLst>
            <pc:docMk/>
            <pc:sldMk cId="3009587968" sldId="268"/>
            <ac:graphicFrameMk id="11" creationId="{29D13C8E-8DED-44C4-E9EA-CA8A2E541890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4:39:49.824" v="312" actId="20577"/>
        <pc:sldMkLst>
          <pc:docMk/>
          <pc:sldMk cId="2177728087" sldId="272"/>
        </pc:sldMkLst>
        <pc:spChg chg="mod">
          <ac:chgData name="Shelley Earl" userId="4951d46f-b647-4b3c-b822-5808962dcca8" providerId="ADAL" clId="{5F9A5095-15C7-4BF8-A3D7-9D6D94260068}" dt="2024-03-25T14:39:49.824" v="312" actId="20577"/>
          <ac:spMkLst>
            <pc:docMk/>
            <pc:sldMk cId="2177728087" sldId="272"/>
            <ac:spMk id="8" creationId="{F639AE83-D0E3-35F9-4EDD-3B02A67DEA40}"/>
          </ac:spMkLst>
        </pc:spChg>
      </pc:sldChg>
      <pc:sldChg chg="modSp mod">
        <pc:chgData name="Shelley Earl" userId="4951d46f-b647-4b3c-b822-5808962dcca8" providerId="ADAL" clId="{5F9A5095-15C7-4BF8-A3D7-9D6D94260068}" dt="2024-03-25T14:35:34.842" v="127" actId="6549"/>
        <pc:sldMkLst>
          <pc:docMk/>
          <pc:sldMk cId="832071717" sldId="273"/>
        </pc:sldMkLst>
        <pc:spChg chg="mod">
          <ac:chgData name="Shelley Earl" userId="4951d46f-b647-4b3c-b822-5808962dcca8" providerId="ADAL" clId="{5F9A5095-15C7-4BF8-A3D7-9D6D94260068}" dt="2024-03-25T14:35:34.842" v="127" actId="6549"/>
          <ac:spMkLst>
            <pc:docMk/>
            <pc:sldMk cId="832071717" sldId="273"/>
            <ac:spMk id="8" creationId="{150F00E2-00FB-9955-A67E-6B6D62965415}"/>
          </ac:spMkLst>
        </pc:spChg>
      </pc:sldChg>
      <pc:sldChg chg="modSp mod">
        <pc:chgData name="Shelley Earl" userId="4951d46f-b647-4b3c-b822-5808962dcca8" providerId="ADAL" clId="{5F9A5095-15C7-4BF8-A3D7-9D6D94260068}" dt="2024-03-25T14:37:15.329" v="155" actId="20577"/>
        <pc:sldMkLst>
          <pc:docMk/>
          <pc:sldMk cId="3481431200" sldId="274"/>
        </pc:sldMkLst>
        <pc:spChg chg="mod">
          <ac:chgData name="Shelley Earl" userId="4951d46f-b647-4b3c-b822-5808962dcca8" providerId="ADAL" clId="{5F9A5095-15C7-4BF8-A3D7-9D6D94260068}" dt="2024-03-25T14:37:15.329" v="155" actId="20577"/>
          <ac:spMkLst>
            <pc:docMk/>
            <pc:sldMk cId="3481431200" sldId="274"/>
            <ac:spMk id="15" creationId="{A57ADB30-AA57-FF7E-1163-C8F0957A0B76}"/>
          </ac:spMkLst>
        </pc:spChg>
        <pc:graphicFrameChg chg="mod">
          <ac:chgData name="Shelley Earl" userId="4951d46f-b647-4b3c-b822-5808962dcca8" providerId="ADAL" clId="{5F9A5095-15C7-4BF8-A3D7-9D6D94260068}" dt="2024-03-25T14:36:32.112" v="142" actId="20577"/>
          <ac:graphicFrameMkLst>
            <pc:docMk/>
            <pc:sldMk cId="3481431200" sldId="274"/>
            <ac:graphicFrameMk id="11" creationId="{5C8EE2C3-03A6-ABAF-3E18-D116DCC72FC4}"/>
          </ac:graphicFrameMkLst>
        </pc:graphicFrameChg>
      </pc:sldChg>
      <pc:sldChg chg="modSp">
        <pc:chgData name="Shelley Earl" userId="4951d46f-b647-4b3c-b822-5808962dcca8" providerId="ADAL" clId="{5F9A5095-15C7-4BF8-A3D7-9D6D94260068}" dt="2024-03-25T14:39:19.046" v="306" actId="115"/>
        <pc:sldMkLst>
          <pc:docMk/>
          <pc:sldMk cId="829028075" sldId="275"/>
        </pc:sldMkLst>
        <pc:graphicFrameChg chg="mod">
          <ac:chgData name="Shelley Earl" userId="4951d46f-b647-4b3c-b822-5808962dcca8" providerId="ADAL" clId="{5F9A5095-15C7-4BF8-A3D7-9D6D94260068}" dt="2024-03-25T14:39:19.046" v="306" actId="115"/>
          <ac:graphicFrameMkLst>
            <pc:docMk/>
            <pc:sldMk cId="829028075" sldId="275"/>
            <ac:graphicFrameMk id="13" creationId="{A605F809-B93D-1529-EAB4-05210895DD47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4:39:41.444" v="310" actId="20577"/>
        <pc:sldMkLst>
          <pc:docMk/>
          <pc:sldMk cId="639071407" sldId="276"/>
        </pc:sldMkLst>
        <pc:spChg chg="mod">
          <ac:chgData name="Shelley Earl" userId="4951d46f-b647-4b3c-b822-5808962dcca8" providerId="ADAL" clId="{5F9A5095-15C7-4BF8-A3D7-9D6D94260068}" dt="2024-03-25T14:39:41.444" v="310" actId="20577"/>
          <ac:spMkLst>
            <pc:docMk/>
            <pc:sldMk cId="639071407" sldId="276"/>
            <ac:spMk id="3" creationId="{D9823FF2-551E-7D6F-6CCD-EA59870F378E}"/>
          </ac:spMkLst>
        </pc:spChg>
      </pc:sldChg>
      <pc:sldChg chg="modSp mod">
        <pc:chgData name="Shelley Earl" userId="4951d46f-b647-4b3c-b822-5808962dcca8" providerId="ADAL" clId="{5F9A5095-15C7-4BF8-A3D7-9D6D94260068}" dt="2024-03-25T14:40:58.944" v="318" actId="6549"/>
        <pc:sldMkLst>
          <pc:docMk/>
          <pc:sldMk cId="4165849477" sldId="277"/>
        </pc:sldMkLst>
        <pc:spChg chg="mod">
          <ac:chgData name="Shelley Earl" userId="4951d46f-b647-4b3c-b822-5808962dcca8" providerId="ADAL" clId="{5F9A5095-15C7-4BF8-A3D7-9D6D94260068}" dt="2024-03-25T14:40:58.944" v="318" actId="6549"/>
          <ac:spMkLst>
            <pc:docMk/>
            <pc:sldMk cId="4165849477" sldId="277"/>
            <ac:spMk id="3" creationId="{800FB85F-FAA5-6EF4-2934-3E9F00A24524}"/>
          </ac:spMkLst>
        </pc:spChg>
      </pc:sldChg>
      <pc:sldChg chg="modSp mod">
        <pc:chgData name="Shelley Earl" userId="4951d46f-b647-4b3c-b822-5808962dcca8" providerId="ADAL" clId="{5F9A5095-15C7-4BF8-A3D7-9D6D94260068}" dt="2024-03-25T14:43:50.620" v="320" actId="1076"/>
        <pc:sldMkLst>
          <pc:docMk/>
          <pc:sldMk cId="969127443" sldId="278"/>
        </pc:sldMkLst>
        <pc:spChg chg="mod">
          <ac:chgData name="Shelley Earl" userId="4951d46f-b647-4b3c-b822-5808962dcca8" providerId="ADAL" clId="{5F9A5095-15C7-4BF8-A3D7-9D6D94260068}" dt="2024-03-25T14:43:50.620" v="320" actId="1076"/>
          <ac:spMkLst>
            <pc:docMk/>
            <pc:sldMk cId="969127443" sldId="278"/>
            <ac:spMk id="9" creationId="{72F99416-9CFC-4A6D-56C2-F38A9754D7B6}"/>
          </ac:spMkLst>
        </pc:spChg>
        <pc:graphicFrameChg chg="mod">
          <ac:chgData name="Shelley Earl" userId="4951d46f-b647-4b3c-b822-5808962dcca8" providerId="ADAL" clId="{5F9A5095-15C7-4BF8-A3D7-9D6D94260068}" dt="2024-03-25T14:42:49.488" v="319" actId="20577"/>
          <ac:graphicFrameMkLst>
            <pc:docMk/>
            <pc:sldMk cId="969127443" sldId="278"/>
            <ac:graphicFrameMk id="8" creationId="{25435880-DE83-4AE6-0C0C-E8BEDD12548D}"/>
          </ac:graphicFrameMkLst>
        </pc:graphicFrameChg>
      </pc:sldChg>
      <pc:sldChg chg="modSp">
        <pc:chgData name="Shelley Earl" userId="4951d46f-b647-4b3c-b822-5808962dcca8" providerId="ADAL" clId="{5F9A5095-15C7-4BF8-A3D7-9D6D94260068}" dt="2024-03-25T14:49:50.648" v="536" actId="20577"/>
        <pc:sldMkLst>
          <pc:docMk/>
          <pc:sldMk cId="4199026466" sldId="279"/>
        </pc:sldMkLst>
        <pc:spChg chg="mod">
          <ac:chgData name="Shelley Earl" userId="4951d46f-b647-4b3c-b822-5808962dcca8" providerId="ADAL" clId="{5F9A5095-15C7-4BF8-A3D7-9D6D94260068}" dt="2024-03-25T14:49:50.648" v="536" actId="20577"/>
          <ac:spMkLst>
            <pc:docMk/>
            <pc:sldMk cId="4199026466" sldId="279"/>
            <ac:spMk id="3" creationId="{7A675047-B99C-FF66-70F8-F831DAF17610}"/>
          </ac:spMkLst>
        </pc:spChg>
      </pc:sldChg>
      <pc:sldChg chg="modSp">
        <pc:chgData name="Shelley Earl" userId="4951d46f-b647-4b3c-b822-5808962dcca8" providerId="ADAL" clId="{5F9A5095-15C7-4BF8-A3D7-9D6D94260068}" dt="2024-03-25T14:51:44.613" v="544"/>
        <pc:sldMkLst>
          <pc:docMk/>
          <pc:sldMk cId="1794826995" sldId="280"/>
        </pc:sldMkLst>
        <pc:graphicFrameChg chg="mod">
          <ac:chgData name="Shelley Earl" userId="4951d46f-b647-4b3c-b822-5808962dcca8" providerId="ADAL" clId="{5F9A5095-15C7-4BF8-A3D7-9D6D94260068}" dt="2024-03-25T14:51:44.613" v="544"/>
          <ac:graphicFrameMkLst>
            <pc:docMk/>
            <pc:sldMk cId="1794826995" sldId="280"/>
            <ac:graphicFrameMk id="4" creationId="{F066EC6C-DCB6-3357-ABD4-0298BB5F32F6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4:52:39.794" v="548" actId="6549"/>
        <pc:sldMkLst>
          <pc:docMk/>
          <pc:sldMk cId="981669481" sldId="282"/>
        </pc:sldMkLst>
        <pc:spChg chg="mod">
          <ac:chgData name="Shelley Earl" userId="4951d46f-b647-4b3c-b822-5808962dcca8" providerId="ADAL" clId="{5F9A5095-15C7-4BF8-A3D7-9D6D94260068}" dt="2024-03-25T14:52:39.794" v="548" actId="6549"/>
          <ac:spMkLst>
            <pc:docMk/>
            <pc:sldMk cId="981669481" sldId="282"/>
            <ac:spMk id="3" creationId="{1C66F432-C4F6-FCEE-F1EB-C13A0EC3264F}"/>
          </ac:spMkLst>
        </pc:spChg>
      </pc:sldChg>
      <pc:sldChg chg="modSp mod">
        <pc:chgData name="Shelley Earl" userId="4951d46f-b647-4b3c-b822-5808962dcca8" providerId="ADAL" clId="{5F9A5095-15C7-4BF8-A3D7-9D6D94260068}" dt="2024-03-25T14:54:22.122" v="607" actId="20577"/>
        <pc:sldMkLst>
          <pc:docMk/>
          <pc:sldMk cId="1411236543" sldId="283"/>
        </pc:sldMkLst>
        <pc:spChg chg="mod">
          <ac:chgData name="Shelley Earl" userId="4951d46f-b647-4b3c-b822-5808962dcca8" providerId="ADAL" clId="{5F9A5095-15C7-4BF8-A3D7-9D6D94260068}" dt="2024-03-25T14:54:22.122" v="607" actId="20577"/>
          <ac:spMkLst>
            <pc:docMk/>
            <pc:sldMk cId="1411236543" sldId="283"/>
            <ac:spMk id="9" creationId="{87FEABC1-0E2B-CA86-F809-3DA3A9B36182}"/>
          </ac:spMkLst>
        </pc:spChg>
      </pc:sldChg>
      <pc:sldChg chg="delSp modSp mod ord delAnim">
        <pc:chgData name="Shelley Earl" userId="4951d46f-b647-4b3c-b822-5808962dcca8" providerId="ADAL" clId="{5F9A5095-15C7-4BF8-A3D7-9D6D94260068}" dt="2024-03-25T15:03:37.909" v="696"/>
        <pc:sldMkLst>
          <pc:docMk/>
          <pc:sldMk cId="30537229" sldId="284"/>
        </pc:sldMkLst>
        <pc:spChg chg="mod">
          <ac:chgData name="Shelley Earl" userId="4951d46f-b647-4b3c-b822-5808962dcca8" providerId="ADAL" clId="{5F9A5095-15C7-4BF8-A3D7-9D6D94260068}" dt="2024-03-25T14:56:02.207" v="623" actId="20577"/>
          <ac:spMkLst>
            <pc:docMk/>
            <pc:sldMk cId="30537229" sldId="284"/>
            <ac:spMk id="2" creationId="{4BE1F89A-BFF8-A65E-BF48-AEE160C282E6}"/>
          </ac:spMkLst>
        </pc:spChg>
        <pc:spChg chg="mod">
          <ac:chgData name="Shelley Earl" userId="4951d46f-b647-4b3c-b822-5808962dcca8" providerId="ADAL" clId="{5F9A5095-15C7-4BF8-A3D7-9D6D94260068}" dt="2024-03-25T15:03:17.553" v="693" actId="6549"/>
          <ac:spMkLst>
            <pc:docMk/>
            <pc:sldMk cId="30537229" sldId="284"/>
            <ac:spMk id="3" creationId="{EE3BD1DC-4EC2-EFA1-8D3E-8824C4794976}"/>
          </ac:spMkLst>
        </pc:spChg>
        <pc:spChg chg="del">
          <ac:chgData name="Shelley Earl" userId="4951d46f-b647-4b3c-b822-5808962dcca8" providerId="ADAL" clId="{5F9A5095-15C7-4BF8-A3D7-9D6D94260068}" dt="2024-03-25T14:57:04.135" v="634" actId="478"/>
          <ac:spMkLst>
            <pc:docMk/>
            <pc:sldMk cId="30537229" sldId="284"/>
            <ac:spMk id="14" creationId="{321EC7B0-8C11-0E94-9273-7579EDAB8D65}"/>
          </ac:spMkLst>
        </pc:spChg>
        <pc:graphicFrameChg chg="mod">
          <ac:chgData name="Shelley Earl" userId="4951d46f-b647-4b3c-b822-5808962dcca8" providerId="ADAL" clId="{5F9A5095-15C7-4BF8-A3D7-9D6D94260068}" dt="2024-03-25T15:03:23.413" v="694" actId="1076"/>
          <ac:graphicFrameMkLst>
            <pc:docMk/>
            <pc:sldMk cId="30537229" sldId="284"/>
            <ac:graphicFrameMk id="4" creationId="{B3FD9947-2372-778F-84F0-D2FAEFF1D8DE}"/>
          </ac:graphicFrameMkLst>
        </pc:graphicFrameChg>
      </pc:sldChg>
      <pc:sldChg chg="modSp mod modAnim">
        <pc:chgData name="Shelley Earl" userId="4951d46f-b647-4b3c-b822-5808962dcca8" providerId="ADAL" clId="{5F9A5095-15C7-4BF8-A3D7-9D6D94260068}" dt="2024-03-25T15:01:31.443" v="680"/>
        <pc:sldMkLst>
          <pc:docMk/>
          <pc:sldMk cId="4282014508" sldId="285"/>
        </pc:sldMkLst>
        <pc:spChg chg="mod">
          <ac:chgData name="Shelley Earl" userId="4951d46f-b647-4b3c-b822-5808962dcca8" providerId="ADAL" clId="{5F9A5095-15C7-4BF8-A3D7-9D6D94260068}" dt="2024-03-25T14:59:09.152" v="644" actId="20577"/>
          <ac:spMkLst>
            <pc:docMk/>
            <pc:sldMk cId="4282014508" sldId="285"/>
            <ac:spMk id="8" creationId="{94E63CD8-53B4-AF1A-FBA4-05945FE997A1}"/>
          </ac:spMkLst>
        </pc:spChg>
        <pc:spChg chg="mod">
          <ac:chgData name="Shelley Earl" userId="4951d46f-b647-4b3c-b822-5808962dcca8" providerId="ADAL" clId="{5F9A5095-15C7-4BF8-A3D7-9D6D94260068}" dt="2024-03-25T15:01:14.846" v="679" actId="6549"/>
          <ac:spMkLst>
            <pc:docMk/>
            <pc:sldMk cId="4282014508" sldId="285"/>
            <ac:spMk id="9" creationId="{F525208C-D97C-1080-772A-E506B67C4128}"/>
          </ac:spMkLst>
        </pc:spChg>
      </pc:sldChg>
      <pc:sldChg chg="delSp modSp mod">
        <pc:chgData name="Shelley Earl" userId="4951d46f-b647-4b3c-b822-5808962dcca8" providerId="ADAL" clId="{5F9A5095-15C7-4BF8-A3D7-9D6D94260068}" dt="2024-03-25T15:02:40.717" v="692" actId="20577"/>
        <pc:sldMkLst>
          <pc:docMk/>
          <pc:sldMk cId="191158308" sldId="286"/>
        </pc:sldMkLst>
        <pc:spChg chg="mod">
          <ac:chgData name="Shelley Earl" userId="4951d46f-b647-4b3c-b822-5808962dcca8" providerId="ADAL" clId="{5F9A5095-15C7-4BF8-A3D7-9D6D94260068}" dt="2024-03-25T15:01:50.720" v="681" actId="20577"/>
          <ac:spMkLst>
            <pc:docMk/>
            <pc:sldMk cId="191158308" sldId="286"/>
            <ac:spMk id="2" creationId="{CEED5DCA-792C-6FB9-BAC9-D3F76F7F9593}"/>
          </ac:spMkLst>
        </pc:spChg>
        <pc:spChg chg="del">
          <ac:chgData name="Shelley Earl" userId="4951d46f-b647-4b3c-b822-5808962dcca8" providerId="ADAL" clId="{5F9A5095-15C7-4BF8-A3D7-9D6D94260068}" dt="2024-03-25T15:02:19.422" v="691" actId="478"/>
          <ac:spMkLst>
            <pc:docMk/>
            <pc:sldMk cId="191158308" sldId="286"/>
            <ac:spMk id="17" creationId="{BC8B5FDD-0F69-C5BD-08B5-438B99EB2666}"/>
          </ac:spMkLst>
        </pc:spChg>
        <pc:graphicFrameChg chg="mod">
          <ac:chgData name="Shelley Earl" userId="4951d46f-b647-4b3c-b822-5808962dcca8" providerId="ADAL" clId="{5F9A5095-15C7-4BF8-A3D7-9D6D94260068}" dt="2024-03-25T15:02:40.717" v="692" actId="20577"/>
          <ac:graphicFrameMkLst>
            <pc:docMk/>
            <pc:sldMk cId="191158308" sldId="286"/>
            <ac:graphicFrameMk id="18" creationId="{F2583A9D-281C-4C52-9347-26153EBC053D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5:04:55.916" v="736" actId="20577"/>
        <pc:sldMkLst>
          <pc:docMk/>
          <pc:sldMk cId="561251587" sldId="287"/>
        </pc:sldMkLst>
        <pc:spChg chg="mod">
          <ac:chgData name="Shelley Earl" userId="4951d46f-b647-4b3c-b822-5808962dcca8" providerId="ADAL" clId="{5F9A5095-15C7-4BF8-A3D7-9D6D94260068}" dt="2024-03-25T15:04:55.916" v="736" actId="20577"/>
          <ac:spMkLst>
            <pc:docMk/>
            <pc:sldMk cId="561251587" sldId="287"/>
            <ac:spMk id="14" creationId="{A1FFE694-DF65-A7CA-A6CD-EE2D7965DCCB}"/>
          </ac:spMkLst>
        </pc:spChg>
      </pc:sldChg>
      <pc:sldChg chg="del">
        <pc:chgData name="Shelley Earl" userId="4951d46f-b647-4b3c-b822-5808962dcca8" providerId="ADAL" clId="{5F9A5095-15C7-4BF8-A3D7-9D6D94260068}" dt="2024-03-25T15:05:59.632" v="737" actId="47"/>
        <pc:sldMkLst>
          <pc:docMk/>
          <pc:sldMk cId="2347924938" sldId="289"/>
        </pc:sldMkLst>
      </pc:sldChg>
      <pc:sldChg chg="addSp delSp modSp mod">
        <pc:chgData name="Shelley Earl" userId="4951d46f-b647-4b3c-b822-5808962dcca8" providerId="ADAL" clId="{5F9A5095-15C7-4BF8-A3D7-9D6D94260068}" dt="2024-03-25T15:14:55.107" v="1077" actId="1076"/>
        <pc:sldMkLst>
          <pc:docMk/>
          <pc:sldMk cId="3114590533" sldId="290"/>
        </pc:sldMkLst>
        <pc:spChg chg="mod">
          <ac:chgData name="Shelley Earl" userId="4951d46f-b647-4b3c-b822-5808962dcca8" providerId="ADAL" clId="{5F9A5095-15C7-4BF8-A3D7-9D6D94260068}" dt="2024-03-25T15:13:03.647" v="915" actId="20577"/>
          <ac:spMkLst>
            <pc:docMk/>
            <pc:sldMk cId="3114590533" sldId="290"/>
            <ac:spMk id="2" creationId="{9D6A7B45-5B3C-3DB0-1BE4-A2E8E5DFB955}"/>
          </ac:spMkLst>
        </pc:spChg>
        <pc:spChg chg="add mod">
          <ac:chgData name="Shelley Earl" userId="4951d46f-b647-4b3c-b822-5808962dcca8" providerId="ADAL" clId="{5F9A5095-15C7-4BF8-A3D7-9D6D94260068}" dt="2024-03-25T15:14:48.487" v="1075" actId="1076"/>
          <ac:spMkLst>
            <pc:docMk/>
            <pc:sldMk cId="3114590533" sldId="290"/>
            <ac:spMk id="3" creationId="{698B0EE6-D2E3-A34A-D0E6-B7CFF8ADAFCF}"/>
          </ac:spMkLst>
        </pc:spChg>
        <pc:spChg chg="del">
          <ac:chgData name="Shelley Earl" userId="4951d46f-b647-4b3c-b822-5808962dcca8" providerId="ADAL" clId="{5F9A5095-15C7-4BF8-A3D7-9D6D94260068}" dt="2024-03-25T15:14:52.349" v="1076" actId="478"/>
          <ac:spMkLst>
            <pc:docMk/>
            <pc:sldMk cId="3114590533" sldId="290"/>
            <ac:spMk id="11" creationId="{F1E7C49D-168F-967C-A68B-1627AE233196}"/>
          </ac:spMkLst>
        </pc:spChg>
        <pc:graphicFrameChg chg="mod">
          <ac:chgData name="Shelley Earl" userId="4951d46f-b647-4b3c-b822-5808962dcca8" providerId="ADAL" clId="{5F9A5095-15C7-4BF8-A3D7-9D6D94260068}" dt="2024-03-25T15:14:55.107" v="1077" actId="1076"/>
          <ac:graphicFrameMkLst>
            <pc:docMk/>
            <pc:sldMk cId="3114590533" sldId="290"/>
            <ac:graphicFrameMk id="8" creationId="{A78DC15E-F928-C464-FBA0-36933CA4DB49}"/>
          </ac:graphicFrameMkLst>
        </pc:graphicFrameChg>
      </pc:sldChg>
      <pc:sldChg chg="modSp mod">
        <pc:chgData name="Shelley Earl" userId="4951d46f-b647-4b3c-b822-5808962dcca8" providerId="ADAL" clId="{5F9A5095-15C7-4BF8-A3D7-9D6D94260068}" dt="2024-03-25T15:15:31.877" v="1111" actId="20577"/>
        <pc:sldMkLst>
          <pc:docMk/>
          <pc:sldMk cId="894928972" sldId="291"/>
        </pc:sldMkLst>
        <pc:spChg chg="mod">
          <ac:chgData name="Shelley Earl" userId="4951d46f-b647-4b3c-b822-5808962dcca8" providerId="ADAL" clId="{5F9A5095-15C7-4BF8-A3D7-9D6D94260068}" dt="2024-03-25T15:15:31.877" v="1111" actId="20577"/>
          <ac:spMkLst>
            <pc:docMk/>
            <pc:sldMk cId="894928972" sldId="291"/>
            <ac:spMk id="3" creationId="{D6504A50-C316-495F-A22D-CFF6B8954D8D}"/>
          </ac:spMkLst>
        </pc:spChg>
      </pc:sldChg>
      <pc:sldChg chg="modSp mod">
        <pc:chgData name="Shelley Earl" userId="4951d46f-b647-4b3c-b822-5808962dcca8" providerId="ADAL" clId="{5F9A5095-15C7-4BF8-A3D7-9D6D94260068}" dt="2024-03-25T15:16:15.672" v="1140" actId="6549"/>
        <pc:sldMkLst>
          <pc:docMk/>
          <pc:sldMk cId="3790215164" sldId="293"/>
        </pc:sldMkLst>
        <pc:spChg chg="mod">
          <ac:chgData name="Shelley Earl" userId="4951d46f-b647-4b3c-b822-5808962dcca8" providerId="ADAL" clId="{5F9A5095-15C7-4BF8-A3D7-9D6D94260068}" dt="2024-03-25T15:16:15.672" v="1140" actId="6549"/>
          <ac:spMkLst>
            <pc:docMk/>
            <pc:sldMk cId="3790215164" sldId="293"/>
            <ac:spMk id="3" creationId="{2A8CED9B-3AA4-6657-52D7-A3AE595B4F07}"/>
          </ac:spMkLst>
        </pc:spChg>
      </pc:sldChg>
      <pc:sldChg chg="del">
        <pc:chgData name="Shelley Earl" userId="4951d46f-b647-4b3c-b822-5808962dcca8" providerId="ADAL" clId="{5F9A5095-15C7-4BF8-A3D7-9D6D94260068}" dt="2024-03-25T15:16:22.607" v="1141" actId="47"/>
        <pc:sldMkLst>
          <pc:docMk/>
          <pc:sldMk cId="1834208117" sldId="3126"/>
        </pc:sldMkLst>
      </pc:sldChg>
      <pc:sldChg chg="addSp delSp modSp new mod">
        <pc:chgData name="Shelley Earl" userId="4951d46f-b647-4b3c-b822-5808962dcca8" providerId="ADAL" clId="{5F9A5095-15C7-4BF8-A3D7-9D6D94260068}" dt="2024-03-25T15:12:28.427" v="901" actId="255"/>
        <pc:sldMkLst>
          <pc:docMk/>
          <pc:sldMk cId="3534279248" sldId="3127"/>
        </pc:sldMkLst>
        <pc:spChg chg="mod">
          <ac:chgData name="Shelley Earl" userId="4951d46f-b647-4b3c-b822-5808962dcca8" providerId="ADAL" clId="{5F9A5095-15C7-4BF8-A3D7-9D6D94260068}" dt="2024-03-25T15:08:42.113" v="772" actId="26606"/>
          <ac:spMkLst>
            <pc:docMk/>
            <pc:sldMk cId="3534279248" sldId="3127"/>
            <ac:spMk id="2" creationId="{73CB6B62-796B-C1D4-4763-5A20739A7519}"/>
          </ac:spMkLst>
        </pc:spChg>
        <pc:spChg chg="del">
          <ac:chgData name="Shelley Earl" userId="4951d46f-b647-4b3c-b822-5808962dcca8" providerId="ADAL" clId="{5F9A5095-15C7-4BF8-A3D7-9D6D94260068}" dt="2024-03-25T15:08:42.113" v="772" actId="26606"/>
          <ac:spMkLst>
            <pc:docMk/>
            <pc:sldMk cId="3534279248" sldId="3127"/>
            <ac:spMk id="3" creationId="{BAE13260-81AC-2050-58FE-5B34388EE05B}"/>
          </ac:spMkLst>
        </pc:spChg>
        <pc:spChg chg="del">
          <ac:chgData name="Shelley Earl" userId="4951d46f-b647-4b3c-b822-5808962dcca8" providerId="ADAL" clId="{5F9A5095-15C7-4BF8-A3D7-9D6D94260068}" dt="2024-03-25T15:08:26.438" v="771" actId="22"/>
          <ac:spMkLst>
            <pc:docMk/>
            <pc:sldMk cId="3534279248" sldId="3127"/>
            <ac:spMk id="4" creationId="{4BC82226-280B-AEB8-5190-C1A2D1758C9C}"/>
          </ac:spMkLst>
        </pc:spChg>
        <pc:spChg chg="add mod">
          <ac:chgData name="Shelley Earl" userId="4951d46f-b647-4b3c-b822-5808962dcca8" providerId="ADAL" clId="{5F9A5095-15C7-4BF8-A3D7-9D6D94260068}" dt="2024-03-25T15:12:28.427" v="901" actId="255"/>
          <ac:spMkLst>
            <pc:docMk/>
            <pc:sldMk cId="3534279248" sldId="3127"/>
            <ac:spMk id="11" creationId="{6C1BA9E3-9396-DBB5-8249-DC0FDEC133B2}"/>
          </ac:spMkLst>
        </pc:spChg>
        <pc:picChg chg="add mod ord">
          <ac:chgData name="Shelley Earl" userId="4951d46f-b647-4b3c-b822-5808962dcca8" providerId="ADAL" clId="{5F9A5095-15C7-4BF8-A3D7-9D6D94260068}" dt="2024-03-25T15:08:43.556" v="773" actId="27614"/>
          <ac:picMkLst>
            <pc:docMk/>
            <pc:sldMk cId="3534279248" sldId="3127"/>
            <ac:picMk id="6" creationId="{486A5F75-0C93-46BB-29E1-EEFA342C3D92}"/>
          </ac:picMkLst>
        </pc:picChg>
      </pc:sldChg>
    </pc:docChg>
  </pc:docChgLst>
  <pc:docChgLst>
    <pc:chgData name="Shelley Earl" userId="4951d46f-b647-4b3c-b822-5808962dcca8" providerId="ADAL" clId="{555ACF2D-AAED-4E01-8D4A-3AB1C9648C92}"/>
    <pc:docChg chg="modSld">
      <pc:chgData name="Shelley Earl" userId="4951d46f-b647-4b3c-b822-5808962dcca8" providerId="ADAL" clId="{555ACF2D-AAED-4E01-8D4A-3AB1C9648C92}" dt="2024-03-25T18:22:53.696" v="13" actId="255"/>
      <pc:docMkLst>
        <pc:docMk/>
      </pc:docMkLst>
      <pc:sldChg chg="modSp mod">
        <pc:chgData name="Shelley Earl" userId="4951d46f-b647-4b3c-b822-5808962dcca8" providerId="ADAL" clId="{555ACF2D-AAED-4E01-8D4A-3AB1C9648C92}" dt="2024-03-25T18:22:15.365" v="9" actId="20577"/>
        <pc:sldMkLst>
          <pc:docMk/>
          <pc:sldMk cId="3481431200" sldId="274"/>
        </pc:sldMkLst>
        <pc:spChg chg="mod">
          <ac:chgData name="Shelley Earl" userId="4951d46f-b647-4b3c-b822-5808962dcca8" providerId="ADAL" clId="{555ACF2D-AAED-4E01-8D4A-3AB1C9648C92}" dt="2024-03-25T18:21:51.140" v="0" actId="1076"/>
          <ac:spMkLst>
            <pc:docMk/>
            <pc:sldMk cId="3481431200" sldId="274"/>
            <ac:spMk id="10" creationId="{4973049F-7464-8CEC-6A0C-5251C1FF3DEA}"/>
          </ac:spMkLst>
        </pc:spChg>
        <pc:spChg chg="mod">
          <ac:chgData name="Shelley Earl" userId="4951d46f-b647-4b3c-b822-5808962dcca8" providerId="ADAL" clId="{555ACF2D-AAED-4E01-8D4A-3AB1C9648C92}" dt="2024-03-25T18:21:53.458" v="1" actId="1076"/>
          <ac:spMkLst>
            <pc:docMk/>
            <pc:sldMk cId="3481431200" sldId="274"/>
            <ac:spMk id="12" creationId="{FC81ACA9-37AB-3848-2CFF-062B6FE76A28}"/>
          </ac:spMkLst>
        </pc:spChg>
        <pc:spChg chg="mod">
          <ac:chgData name="Shelley Earl" userId="4951d46f-b647-4b3c-b822-5808962dcca8" providerId="ADAL" clId="{555ACF2D-AAED-4E01-8D4A-3AB1C9648C92}" dt="2024-03-25T18:22:01.792" v="2" actId="1076"/>
          <ac:spMkLst>
            <pc:docMk/>
            <pc:sldMk cId="3481431200" sldId="274"/>
            <ac:spMk id="13" creationId="{1A002978-A98E-CB9D-6EC7-7BD47016C50B}"/>
          </ac:spMkLst>
        </pc:spChg>
        <pc:graphicFrameChg chg="mod">
          <ac:chgData name="Shelley Earl" userId="4951d46f-b647-4b3c-b822-5808962dcca8" providerId="ADAL" clId="{555ACF2D-AAED-4E01-8D4A-3AB1C9648C92}" dt="2024-03-25T18:22:15.365" v="9" actId="20577"/>
          <ac:graphicFrameMkLst>
            <pc:docMk/>
            <pc:sldMk cId="3481431200" sldId="274"/>
            <ac:graphicFrameMk id="11" creationId="{5C8EE2C3-03A6-ABAF-3E18-D116DCC72FC4}"/>
          </ac:graphicFrameMkLst>
        </pc:graphicFrameChg>
      </pc:sldChg>
      <pc:sldChg chg="modSp">
        <pc:chgData name="Shelley Earl" userId="4951d46f-b647-4b3c-b822-5808962dcca8" providerId="ADAL" clId="{555ACF2D-AAED-4E01-8D4A-3AB1C9648C92}" dt="2024-03-25T18:22:34.417" v="11" actId="255"/>
        <pc:sldMkLst>
          <pc:docMk/>
          <pc:sldMk cId="829028075" sldId="275"/>
        </pc:sldMkLst>
        <pc:graphicFrameChg chg="mod">
          <ac:chgData name="Shelley Earl" userId="4951d46f-b647-4b3c-b822-5808962dcca8" providerId="ADAL" clId="{555ACF2D-AAED-4E01-8D4A-3AB1C9648C92}" dt="2024-03-25T18:22:34.417" v="11" actId="255"/>
          <ac:graphicFrameMkLst>
            <pc:docMk/>
            <pc:sldMk cId="829028075" sldId="275"/>
            <ac:graphicFrameMk id="13" creationId="{A605F809-B93D-1529-EAB4-05210895DD47}"/>
          </ac:graphicFrameMkLst>
        </pc:graphicFrameChg>
      </pc:sldChg>
      <pc:sldChg chg="modSp">
        <pc:chgData name="Shelley Earl" userId="4951d46f-b647-4b3c-b822-5808962dcca8" providerId="ADAL" clId="{555ACF2D-AAED-4E01-8D4A-3AB1C9648C92}" dt="2024-03-25T18:22:53.696" v="13" actId="255"/>
        <pc:sldMkLst>
          <pc:docMk/>
          <pc:sldMk cId="969127443" sldId="278"/>
        </pc:sldMkLst>
        <pc:graphicFrameChg chg="mod">
          <ac:chgData name="Shelley Earl" userId="4951d46f-b647-4b3c-b822-5808962dcca8" providerId="ADAL" clId="{555ACF2D-AAED-4E01-8D4A-3AB1C9648C92}" dt="2024-03-25T18:22:53.696" v="13" actId="255"/>
          <ac:graphicFrameMkLst>
            <pc:docMk/>
            <pc:sldMk cId="969127443" sldId="278"/>
            <ac:graphicFrameMk id="8" creationId="{25435880-DE83-4AE6-0C0C-E8BEDD12548D}"/>
          </ac:graphicFrameMkLst>
        </pc:graphicFrame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ata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13.png"/><Relationship Id="rId7" Type="http://schemas.openxmlformats.org/officeDocument/2006/relationships/image" Target="../media/image33.png"/><Relationship Id="rId2" Type="http://schemas.openxmlformats.org/officeDocument/2006/relationships/image" Target="../media/image30.svg"/><Relationship Id="rId1" Type="http://schemas.openxmlformats.org/officeDocument/2006/relationships/image" Target="../media/image29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.svg"/></Relationships>
</file>

<file path=ppt/diagrams/_rels/data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image" Target="../media/image37.svg"/><Relationship Id="rId1" Type="http://schemas.openxmlformats.org/officeDocument/2006/relationships/image" Target="../media/image36.png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diagrams/_rels/data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svg"/><Relationship Id="rId1" Type="http://schemas.openxmlformats.org/officeDocument/2006/relationships/image" Target="../media/image7.png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diagrams/_rels/drawing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13.png"/><Relationship Id="rId7" Type="http://schemas.openxmlformats.org/officeDocument/2006/relationships/image" Target="../media/image33.png"/><Relationship Id="rId2" Type="http://schemas.openxmlformats.org/officeDocument/2006/relationships/image" Target="../media/image30.svg"/><Relationship Id="rId1" Type="http://schemas.openxmlformats.org/officeDocument/2006/relationships/image" Target="../media/image29.png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4.svg"/></Relationships>
</file>

<file path=ppt/diagrams/_rels/drawing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image" Target="../media/image37.svg"/><Relationship Id="rId1" Type="http://schemas.openxmlformats.org/officeDocument/2006/relationships/image" Target="../media/image36.png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Relationship Id="rId14" Type="http://schemas.openxmlformats.org/officeDocument/2006/relationships/image" Target="../media/image49.svg"/></Relationships>
</file>

<file path=ppt/diagrams/_rels/drawing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B1D878-DD47-4554-B918-FF8182C854DF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4872F20E-C901-4018-94B9-DA055639A969}" type="parTrans" cxnId="{2C805EEF-CF2F-4F03-A350-433349A689D4}">
      <dgm:prSet/>
      <dgm:spPr/>
      <dgm:t>
        <a:bodyPr/>
        <a:lstStyle/>
        <a:p>
          <a:endParaRPr lang="en-US"/>
        </a:p>
      </dgm:t>
    </dgm:pt>
    <dgm:pt modelId="{BD203190-B02D-4833-9639-64C6874E5D6E}">
      <dgm:prSet custT="1"/>
      <dgm:spPr>
        <a:noFill/>
        <a:ln>
          <a:noFill/>
        </a:ln>
      </dgm:spPr>
      <dgm:t>
        <a:bodyPr/>
        <a:lstStyle/>
        <a:p>
          <a:r>
            <a:rPr lang="es-LA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dos quieren ser parte de un equipo que sea respetuoso y exitoso</a:t>
          </a:r>
          <a:endParaRPr lang="en-US"/>
        </a:p>
      </dgm:t>
    </dgm:pt>
    <dgm:pt modelId="{22737114-0C48-408A-9ADC-FBB5D68DA89B}" type="sibTrans" cxnId="{2C805EEF-CF2F-4F03-A350-433349A689D4}">
      <dgm:prSet/>
      <dgm:spPr/>
      <dgm:t>
        <a:bodyPr/>
        <a:lstStyle/>
        <a:p>
          <a:endParaRPr lang="en-US"/>
        </a:p>
      </dgm:t>
    </dgm:pt>
    <dgm:pt modelId="{3B489F43-81AC-47EA-B6F9-1A9F3623A6FD}" type="parTrans" cxnId="{13C6D90E-7F16-468F-8174-849772F19413}">
      <dgm:prSet/>
      <dgm:spPr/>
      <dgm:t>
        <a:bodyPr/>
        <a:lstStyle/>
        <a:p>
          <a:endParaRPr lang="en-US"/>
        </a:p>
      </dgm:t>
    </dgm:pt>
    <dgm:pt modelId="{D5ADE06A-2CD8-4527-BB06-0919124DF32C}">
      <dgm:prSet custT="1"/>
      <dgm:spPr>
        <a:noFill/>
        <a:ln>
          <a:noFill/>
        </a:ln>
      </dgm:spPr>
      <dgm:t>
        <a:bodyPr/>
        <a:lstStyle/>
        <a:p>
          <a:r>
            <a:rPr lang="es-LA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l V&amp;E de 168 mantiene los principios de prevención de la discriminación y el acoso, lo que requiere el compromiso de todos</a:t>
          </a:r>
          <a:endParaRPr lang="en-US"/>
        </a:p>
      </dgm:t>
    </dgm:pt>
    <dgm:pt modelId="{8031BCC7-8D90-4C42-9290-ACCDE5A0B9ED}" type="sibTrans" cxnId="{13C6D90E-7F16-468F-8174-849772F19413}">
      <dgm:prSet/>
      <dgm:spPr/>
      <dgm:t>
        <a:bodyPr/>
        <a:lstStyle/>
        <a:p>
          <a:endParaRPr lang="en-US"/>
        </a:p>
      </dgm:t>
    </dgm:pt>
    <dgm:pt modelId="{2F0AF00D-06E6-440B-A672-A767CD8F0B53}" type="parTrans" cxnId="{8CDEB02E-8A08-40C6-87D8-28E2732CC60D}">
      <dgm:prSet/>
      <dgm:spPr/>
      <dgm:t>
        <a:bodyPr/>
        <a:lstStyle/>
        <a:p>
          <a:endParaRPr lang="en-US"/>
        </a:p>
      </dgm:t>
    </dgm:pt>
    <dgm:pt modelId="{255A7C46-93F8-42B9-B3FF-C4120B6D6A85}">
      <dgm:prSet custT="1"/>
      <dgm:spPr>
        <a:noFill/>
        <a:ln>
          <a:noFill/>
        </a:ln>
      </dgm:spPr>
      <dgm:t>
        <a:bodyPr/>
        <a:lstStyle/>
        <a:p>
          <a:r>
            <a:rPr lang="es-LA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PM no tolera la falta de respeto, el acoso ni la discriminación de ninguna forma.</a:t>
          </a:r>
          <a:endParaRPr lang="en-US"/>
        </a:p>
      </dgm:t>
    </dgm:pt>
    <dgm:pt modelId="{14D5279D-3554-44D4-A185-DA900563E26D}" type="sibTrans" cxnId="{8CDEB02E-8A08-40C6-87D8-28E2732CC60D}">
      <dgm:prSet/>
      <dgm:spPr/>
      <dgm:t>
        <a:bodyPr/>
        <a:lstStyle/>
        <a:p>
          <a:endParaRPr lang="en-US"/>
        </a:p>
      </dgm:t>
    </dgm:pt>
    <dgm:pt modelId="{72D0D968-80E7-4D31-AFB8-C5742C4FABDC}" type="parTrans" cxnId="{030A95F4-A88A-4B89-A4B3-BB170F385C72}">
      <dgm:prSet/>
      <dgm:spPr/>
      <dgm:t>
        <a:bodyPr/>
        <a:lstStyle/>
        <a:p>
          <a:endParaRPr lang="en-US"/>
        </a:p>
      </dgm:t>
    </dgm:pt>
    <dgm:pt modelId="{D5DED7B9-AE0E-4022-87AC-013CCD84826A}">
      <dgm:prSet custT="1"/>
      <dgm:spPr>
        <a:noFill/>
        <a:ln>
          <a:noFill/>
        </a:ln>
      </dgm:spPr>
      <dgm:t>
        <a:bodyPr/>
        <a:lstStyle/>
        <a:p>
          <a:r>
            <a:rPr lang="es-LA" sz="19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dos debemos asegurarnos de que nuestra conducta refleje los valores de RPM, y debemos tomar medidas si vemos alguna conducta indebida.</a:t>
          </a:r>
          <a:endParaRPr lang="en-US"/>
        </a:p>
      </dgm:t>
    </dgm:pt>
    <dgm:pt modelId="{CEBD3099-CB00-4B1F-9F22-D2CEB3D1037A}" type="sibTrans" cxnId="{030A95F4-A88A-4B89-A4B3-BB170F385C72}">
      <dgm:prSet/>
      <dgm:spPr/>
      <dgm:t>
        <a:bodyPr/>
        <a:lstStyle/>
        <a:p>
          <a:endParaRPr lang="en-US"/>
        </a:p>
      </dgm:t>
    </dgm:pt>
    <dgm:pt modelId="{79A6C311-014C-4876-94E9-AC2AA0789466}" type="pres">
      <dgm:prSet presAssocID="{D3B1D878-DD47-4554-B918-FF8182C854DF}" presName="root" presStyleCnt="0">
        <dgm:presLayoutVars>
          <dgm:dir/>
          <dgm:resizeHandles val="exact"/>
        </dgm:presLayoutVars>
      </dgm:prSet>
      <dgm:spPr/>
    </dgm:pt>
    <dgm:pt modelId="{D1AC1FB3-8252-43F4-B1DF-E0B7B991C4ED}" type="pres">
      <dgm:prSet presAssocID="{BD203190-B02D-4833-9639-64C6874E5D6E}" presName="compNode" presStyleCnt="0"/>
      <dgm:spPr/>
    </dgm:pt>
    <dgm:pt modelId="{E5BCA4F3-8F30-418C-9B3B-9FAE6FBB2AFD}" type="pres">
      <dgm:prSet presAssocID="{BD203190-B02D-4833-9639-64C6874E5D6E}" presName="bgRect" presStyleLbl="bgShp" presStyleIdx="0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0E1DE14D-271D-4E48-A734-F66D4AA6B04D}" type="pres">
      <dgm:prSet presAssocID="{BD203190-B02D-4833-9639-64C6874E5D6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oup"/>
        </a:ext>
      </dgm:extLst>
    </dgm:pt>
    <dgm:pt modelId="{AF898DFF-833E-4969-A05C-28F864E3637F}" type="pres">
      <dgm:prSet presAssocID="{BD203190-B02D-4833-9639-64C6874E5D6E}" presName="spaceRect" presStyleCnt="0"/>
      <dgm:spPr/>
    </dgm:pt>
    <dgm:pt modelId="{10EBE8A2-D7D4-4676-91C2-0669EA92AE50}" type="pres">
      <dgm:prSet presAssocID="{BD203190-B02D-4833-9639-64C6874E5D6E}" presName="parTx" presStyleLbl="revTx" presStyleIdx="0" presStyleCnt="4">
        <dgm:presLayoutVars>
          <dgm:chMax val="0"/>
          <dgm:chPref val="0"/>
        </dgm:presLayoutVars>
      </dgm:prSet>
      <dgm:spPr/>
    </dgm:pt>
    <dgm:pt modelId="{AAB631DF-D1E9-4EBA-BFAB-61939DC8BDB1}" type="pres">
      <dgm:prSet presAssocID="{22737114-0C48-408A-9ADC-FBB5D68DA89B}" presName="sibTrans" presStyleCnt="0"/>
      <dgm:spPr/>
    </dgm:pt>
    <dgm:pt modelId="{9EA0C476-91E6-4714-919B-C91EBFC2EB4F}" type="pres">
      <dgm:prSet presAssocID="{D5ADE06A-2CD8-4527-BB06-0919124DF32C}" presName="compNode" presStyleCnt="0"/>
      <dgm:spPr/>
    </dgm:pt>
    <dgm:pt modelId="{62399D1D-6A37-4655-9B96-57525ECC5F52}" type="pres">
      <dgm:prSet presAssocID="{D5ADE06A-2CD8-4527-BB06-0919124DF32C}" presName="bgRect" presStyleLbl="bgShp" presStyleIdx="1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581AAD55-36A6-40B9-B55F-EEF840079F1A}" type="pres">
      <dgm:prSet presAssocID="{D5ADE06A-2CD8-4527-BB06-0919124DF32C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221124F0-5250-4952-B025-754B2DEE029D}" type="pres">
      <dgm:prSet presAssocID="{D5ADE06A-2CD8-4527-BB06-0919124DF32C}" presName="spaceRect" presStyleCnt="0"/>
      <dgm:spPr/>
    </dgm:pt>
    <dgm:pt modelId="{F09238B2-9DB9-4BD7-8219-1D04AF10EADE}" type="pres">
      <dgm:prSet presAssocID="{D5ADE06A-2CD8-4527-BB06-0919124DF32C}" presName="parTx" presStyleLbl="revTx" presStyleIdx="1" presStyleCnt="4">
        <dgm:presLayoutVars>
          <dgm:chMax val="0"/>
          <dgm:chPref val="0"/>
        </dgm:presLayoutVars>
      </dgm:prSet>
      <dgm:spPr/>
    </dgm:pt>
    <dgm:pt modelId="{DC802BC5-1A91-4AF9-9ED1-02F8C352C88F}" type="pres">
      <dgm:prSet presAssocID="{8031BCC7-8D90-4C42-9290-ACCDE5A0B9ED}" presName="sibTrans" presStyleCnt="0"/>
      <dgm:spPr/>
    </dgm:pt>
    <dgm:pt modelId="{4F6FD4E0-2E33-4FE5-AB43-13249D436D2E}" type="pres">
      <dgm:prSet presAssocID="{255A7C46-93F8-42B9-B3FF-C4120B6D6A85}" presName="compNode" presStyleCnt="0"/>
      <dgm:spPr/>
    </dgm:pt>
    <dgm:pt modelId="{2194DC87-0EB3-47A9-A710-50B67ABE9595}" type="pres">
      <dgm:prSet presAssocID="{255A7C46-93F8-42B9-B3FF-C4120B6D6A85}" presName="bgRect" presStyleLbl="bgShp" presStyleIdx="2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E7043F58-D2C7-4873-8DE7-E85D1568F29E}" type="pres">
      <dgm:prSet presAssocID="{255A7C46-93F8-42B9-B3FF-C4120B6D6A85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arth Globe Americas"/>
        </a:ext>
      </dgm:extLst>
    </dgm:pt>
    <dgm:pt modelId="{E91F269F-E74E-44A5-B980-0F943959FF9F}" type="pres">
      <dgm:prSet presAssocID="{255A7C46-93F8-42B9-B3FF-C4120B6D6A85}" presName="spaceRect" presStyleCnt="0"/>
      <dgm:spPr/>
    </dgm:pt>
    <dgm:pt modelId="{E61693E8-D0B4-4833-BD20-F0400943806F}" type="pres">
      <dgm:prSet presAssocID="{255A7C46-93F8-42B9-B3FF-C4120B6D6A85}" presName="parTx" presStyleLbl="revTx" presStyleIdx="2" presStyleCnt="4">
        <dgm:presLayoutVars>
          <dgm:chMax val="0"/>
          <dgm:chPref val="0"/>
        </dgm:presLayoutVars>
      </dgm:prSet>
      <dgm:spPr/>
    </dgm:pt>
    <dgm:pt modelId="{84CA8B17-F245-4AD8-9D97-5A81F130C64C}" type="pres">
      <dgm:prSet presAssocID="{14D5279D-3554-44D4-A185-DA900563E26D}" presName="sibTrans" presStyleCnt="0"/>
      <dgm:spPr/>
    </dgm:pt>
    <dgm:pt modelId="{4DEF3117-8A5A-458D-881B-10B2ACCAB362}" type="pres">
      <dgm:prSet presAssocID="{D5DED7B9-AE0E-4022-87AC-013CCD84826A}" presName="compNode" presStyleCnt="0"/>
      <dgm:spPr/>
    </dgm:pt>
    <dgm:pt modelId="{AEF938DC-0277-4425-B5AA-B6E145ABDF3E}" type="pres">
      <dgm:prSet presAssocID="{D5DED7B9-AE0E-4022-87AC-013CCD84826A}" presName="bgRect" presStyleLbl="bgShp" presStyleIdx="3" presStyleCnt="4"/>
      <dgm:spPr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BE8DF815-E4EC-4C8B-89A3-02381B28C402}" type="pres">
      <dgm:prSet presAssocID="{D5DED7B9-AE0E-4022-87AC-013CCD84826A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rritant"/>
        </a:ext>
      </dgm:extLst>
    </dgm:pt>
    <dgm:pt modelId="{EFBC4F42-3390-49A4-B52F-7A9440C85FC1}" type="pres">
      <dgm:prSet presAssocID="{D5DED7B9-AE0E-4022-87AC-013CCD84826A}" presName="spaceRect" presStyleCnt="0"/>
      <dgm:spPr/>
    </dgm:pt>
    <dgm:pt modelId="{24931F5D-5E16-4A87-A9D2-51F34F2AEE47}" type="pres">
      <dgm:prSet presAssocID="{D5DED7B9-AE0E-4022-87AC-013CCD84826A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13C6D90E-7F16-468F-8174-849772F19413}" srcId="{D3B1D878-DD47-4554-B918-FF8182C854DF}" destId="{D5ADE06A-2CD8-4527-BB06-0919124DF32C}" srcOrd="1" destOrd="0" parTransId="{3B489F43-81AC-47EA-B6F9-1A9F3623A6FD}" sibTransId="{8031BCC7-8D90-4C42-9290-ACCDE5A0B9ED}"/>
    <dgm:cxn modelId="{8A288B1E-4A38-46E7-950E-DFA7B02D1B7D}" type="presOf" srcId="{D3B1D878-DD47-4554-B918-FF8182C854DF}" destId="{79A6C311-014C-4876-94E9-AC2AA0789466}" srcOrd="0" destOrd="0" presId="urn:microsoft.com/office/officeart/2018/2/layout/IconVerticalSolidList"/>
    <dgm:cxn modelId="{09709624-9B57-4CC9-B7D5-5B66D7A40F03}" type="presOf" srcId="{D5ADE06A-2CD8-4527-BB06-0919124DF32C}" destId="{F09238B2-9DB9-4BD7-8219-1D04AF10EADE}" srcOrd="0" destOrd="0" presId="urn:microsoft.com/office/officeart/2018/2/layout/IconVerticalSolidList"/>
    <dgm:cxn modelId="{8CDEB02E-8A08-40C6-87D8-28E2732CC60D}" srcId="{D3B1D878-DD47-4554-B918-FF8182C854DF}" destId="{255A7C46-93F8-42B9-B3FF-C4120B6D6A85}" srcOrd="2" destOrd="0" parTransId="{2F0AF00D-06E6-440B-A672-A767CD8F0B53}" sibTransId="{14D5279D-3554-44D4-A185-DA900563E26D}"/>
    <dgm:cxn modelId="{C9CDD46C-2FF2-4E1B-9B86-B4F49E7801C5}" type="presOf" srcId="{BD203190-B02D-4833-9639-64C6874E5D6E}" destId="{10EBE8A2-D7D4-4676-91C2-0669EA92AE50}" srcOrd="0" destOrd="0" presId="urn:microsoft.com/office/officeart/2018/2/layout/IconVerticalSolidList"/>
    <dgm:cxn modelId="{77837479-906B-42D5-B429-832BD47E0658}" type="presOf" srcId="{D5DED7B9-AE0E-4022-87AC-013CCD84826A}" destId="{24931F5D-5E16-4A87-A9D2-51F34F2AEE47}" srcOrd="0" destOrd="0" presId="urn:microsoft.com/office/officeart/2018/2/layout/IconVerticalSolidList"/>
    <dgm:cxn modelId="{EA0583A6-0C3A-488D-A835-90F799DB386F}" type="presOf" srcId="{255A7C46-93F8-42B9-B3FF-C4120B6D6A85}" destId="{E61693E8-D0B4-4833-BD20-F0400943806F}" srcOrd="0" destOrd="0" presId="urn:microsoft.com/office/officeart/2018/2/layout/IconVerticalSolidList"/>
    <dgm:cxn modelId="{2C805EEF-CF2F-4F03-A350-433349A689D4}" srcId="{D3B1D878-DD47-4554-B918-FF8182C854DF}" destId="{BD203190-B02D-4833-9639-64C6874E5D6E}" srcOrd="0" destOrd="0" parTransId="{4872F20E-C901-4018-94B9-DA055639A969}" sibTransId="{22737114-0C48-408A-9ADC-FBB5D68DA89B}"/>
    <dgm:cxn modelId="{030A95F4-A88A-4B89-A4B3-BB170F385C72}" srcId="{D3B1D878-DD47-4554-B918-FF8182C854DF}" destId="{D5DED7B9-AE0E-4022-87AC-013CCD84826A}" srcOrd="3" destOrd="0" parTransId="{72D0D968-80E7-4D31-AFB8-C5742C4FABDC}" sibTransId="{CEBD3099-CB00-4B1F-9F22-D2CEB3D1037A}"/>
    <dgm:cxn modelId="{99F41345-27EA-4A52-AC7D-6D4A0325DE13}" type="presParOf" srcId="{79A6C311-014C-4876-94E9-AC2AA0789466}" destId="{D1AC1FB3-8252-43F4-B1DF-E0B7B991C4ED}" srcOrd="0" destOrd="0" presId="urn:microsoft.com/office/officeart/2018/2/layout/IconVerticalSolidList"/>
    <dgm:cxn modelId="{B431FFEC-667F-4B13-8CC9-E1A5A8CE62A6}" type="presParOf" srcId="{D1AC1FB3-8252-43F4-B1DF-E0B7B991C4ED}" destId="{E5BCA4F3-8F30-418C-9B3B-9FAE6FBB2AFD}" srcOrd="0" destOrd="0" presId="urn:microsoft.com/office/officeart/2018/2/layout/IconVerticalSolidList"/>
    <dgm:cxn modelId="{0A5844B3-1BD0-4B00-822A-159AB1170E44}" type="presParOf" srcId="{D1AC1FB3-8252-43F4-B1DF-E0B7B991C4ED}" destId="{0E1DE14D-271D-4E48-A734-F66D4AA6B04D}" srcOrd="1" destOrd="0" presId="urn:microsoft.com/office/officeart/2018/2/layout/IconVerticalSolidList"/>
    <dgm:cxn modelId="{866C3F26-12C0-4336-BAD3-83D45B5DF938}" type="presParOf" srcId="{D1AC1FB3-8252-43F4-B1DF-E0B7B991C4ED}" destId="{AF898DFF-833E-4969-A05C-28F864E3637F}" srcOrd="2" destOrd="0" presId="urn:microsoft.com/office/officeart/2018/2/layout/IconVerticalSolidList"/>
    <dgm:cxn modelId="{63EA4A62-38EC-4F4B-9538-1DF68CD15C4A}" type="presParOf" srcId="{D1AC1FB3-8252-43F4-B1DF-E0B7B991C4ED}" destId="{10EBE8A2-D7D4-4676-91C2-0669EA92AE50}" srcOrd="3" destOrd="0" presId="urn:microsoft.com/office/officeart/2018/2/layout/IconVerticalSolidList"/>
    <dgm:cxn modelId="{9234A592-DD51-48F1-9C0F-D4C88965A31E}" type="presParOf" srcId="{79A6C311-014C-4876-94E9-AC2AA0789466}" destId="{AAB631DF-D1E9-4EBA-BFAB-61939DC8BDB1}" srcOrd="1" destOrd="0" presId="urn:microsoft.com/office/officeart/2018/2/layout/IconVerticalSolidList"/>
    <dgm:cxn modelId="{93BC4234-C7EE-44C9-87CD-E5A565C368F6}" type="presParOf" srcId="{79A6C311-014C-4876-94E9-AC2AA0789466}" destId="{9EA0C476-91E6-4714-919B-C91EBFC2EB4F}" srcOrd="2" destOrd="0" presId="urn:microsoft.com/office/officeart/2018/2/layout/IconVerticalSolidList"/>
    <dgm:cxn modelId="{B7CA15D5-025C-49B5-B7FF-F2AE65A8C77B}" type="presParOf" srcId="{9EA0C476-91E6-4714-919B-C91EBFC2EB4F}" destId="{62399D1D-6A37-4655-9B96-57525ECC5F52}" srcOrd="0" destOrd="0" presId="urn:microsoft.com/office/officeart/2018/2/layout/IconVerticalSolidList"/>
    <dgm:cxn modelId="{B4AD1119-EA44-4193-B5F7-9C93785B886B}" type="presParOf" srcId="{9EA0C476-91E6-4714-919B-C91EBFC2EB4F}" destId="{581AAD55-36A6-40B9-B55F-EEF840079F1A}" srcOrd="1" destOrd="0" presId="urn:microsoft.com/office/officeart/2018/2/layout/IconVerticalSolidList"/>
    <dgm:cxn modelId="{B007B9A0-F4DF-45D1-A28F-1FC8A32A6252}" type="presParOf" srcId="{9EA0C476-91E6-4714-919B-C91EBFC2EB4F}" destId="{221124F0-5250-4952-B025-754B2DEE029D}" srcOrd="2" destOrd="0" presId="urn:microsoft.com/office/officeart/2018/2/layout/IconVerticalSolidList"/>
    <dgm:cxn modelId="{440265EE-A24A-4065-BC6D-DF28A7EE3481}" type="presParOf" srcId="{9EA0C476-91E6-4714-919B-C91EBFC2EB4F}" destId="{F09238B2-9DB9-4BD7-8219-1D04AF10EADE}" srcOrd="3" destOrd="0" presId="urn:microsoft.com/office/officeart/2018/2/layout/IconVerticalSolidList"/>
    <dgm:cxn modelId="{2707C2FA-EEF9-4ED7-9553-84852D1091A6}" type="presParOf" srcId="{79A6C311-014C-4876-94E9-AC2AA0789466}" destId="{DC802BC5-1A91-4AF9-9ED1-02F8C352C88F}" srcOrd="3" destOrd="0" presId="urn:microsoft.com/office/officeart/2018/2/layout/IconVerticalSolidList"/>
    <dgm:cxn modelId="{69BDB5DF-9A9B-4644-93F1-39871B1C53C8}" type="presParOf" srcId="{79A6C311-014C-4876-94E9-AC2AA0789466}" destId="{4F6FD4E0-2E33-4FE5-AB43-13249D436D2E}" srcOrd="4" destOrd="0" presId="urn:microsoft.com/office/officeart/2018/2/layout/IconVerticalSolidList"/>
    <dgm:cxn modelId="{B7696AE6-7E7B-4FCF-AEBE-D9FA638D4779}" type="presParOf" srcId="{4F6FD4E0-2E33-4FE5-AB43-13249D436D2E}" destId="{2194DC87-0EB3-47A9-A710-50B67ABE9595}" srcOrd="0" destOrd="0" presId="urn:microsoft.com/office/officeart/2018/2/layout/IconVerticalSolidList"/>
    <dgm:cxn modelId="{4FC29CD8-71EF-4AE7-974B-CC6984BB8875}" type="presParOf" srcId="{4F6FD4E0-2E33-4FE5-AB43-13249D436D2E}" destId="{E7043F58-D2C7-4873-8DE7-E85D1568F29E}" srcOrd="1" destOrd="0" presId="urn:microsoft.com/office/officeart/2018/2/layout/IconVerticalSolidList"/>
    <dgm:cxn modelId="{44DFEE69-ABEA-462F-AF67-3A0DB72C8E2B}" type="presParOf" srcId="{4F6FD4E0-2E33-4FE5-AB43-13249D436D2E}" destId="{E91F269F-E74E-44A5-B980-0F943959FF9F}" srcOrd="2" destOrd="0" presId="urn:microsoft.com/office/officeart/2018/2/layout/IconVerticalSolidList"/>
    <dgm:cxn modelId="{2912C226-E309-45B6-B6FB-64D69C809ED4}" type="presParOf" srcId="{4F6FD4E0-2E33-4FE5-AB43-13249D436D2E}" destId="{E61693E8-D0B4-4833-BD20-F0400943806F}" srcOrd="3" destOrd="0" presId="urn:microsoft.com/office/officeart/2018/2/layout/IconVerticalSolidList"/>
    <dgm:cxn modelId="{E4F35C5C-1EC8-4063-873B-6E96510782C1}" type="presParOf" srcId="{79A6C311-014C-4876-94E9-AC2AA0789466}" destId="{84CA8B17-F245-4AD8-9D97-5A81F130C64C}" srcOrd="5" destOrd="0" presId="urn:microsoft.com/office/officeart/2018/2/layout/IconVerticalSolidList"/>
    <dgm:cxn modelId="{C922FB73-384A-4AFB-8292-0E13C6D92E1A}" type="presParOf" srcId="{79A6C311-014C-4876-94E9-AC2AA0789466}" destId="{4DEF3117-8A5A-458D-881B-10B2ACCAB362}" srcOrd="6" destOrd="0" presId="urn:microsoft.com/office/officeart/2018/2/layout/IconVerticalSolidList"/>
    <dgm:cxn modelId="{B5199201-7CB4-4971-BE12-C47C1ADEE68D}" type="presParOf" srcId="{4DEF3117-8A5A-458D-881B-10B2ACCAB362}" destId="{AEF938DC-0277-4425-B5AA-B6E145ABDF3E}" srcOrd="0" destOrd="0" presId="urn:microsoft.com/office/officeart/2018/2/layout/IconVerticalSolidList"/>
    <dgm:cxn modelId="{3D7021F6-0312-44A8-9BC7-E286954800C9}" type="presParOf" srcId="{4DEF3117-8A5A-458D-881B-10B2ACCAB362}" destId="{BE8DF815-E4EC-4C8B-89A3-02381B28C402}" srcOrd="1" destOrd="0" presId="urn:microsoft.com/office/officeart/2018/2/layout/IconVerticalSolidList"/>
    <dgm:cxn modelId="{E9AFAC2F-7C10-4F07-ABDD-997371F743ED}" type="presParOf" srcId="{4DEF3117-8A5A-458D-881B-10B2ACCAB362}" destId="{EFBC4F42-3390-49A4-B52F-7A9440C85FC1}" srcOrd="2" destOrd="0" presId="urn:microsoft.com/office/officeart/2018/2/layout/IconVerticalSolidList"/>
    <dgm:cxn modelId="{5B5825C7-7AC2-4A38-B344-A4C3E3DB8A3E}" type="presParOf" srcId="{4DEF3117-8A5A-458D-881B-10B2ACCAB362}" destId="{24931F5D-5E16-4A87-A9D2-51F34F2AEE47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D7DFDA6-E816-47B2-9567-C5BB0EEB594A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D59F25E-8D6B-4DDC-88B3-DDA63EF0643B}" type="parTrans" cxnId="{92892853-6B3E-4A34-A2CF-DB7F1DD3439D}">
      <dgm:prSet/>
      <dgm:spPr/>
      <dgm:t>
        <a:bodyPr/>
        <a:lstStyle/>
        <a:p>
          <a:endParaRPr lang="en-US"/>
        </a:p>
      </dgm:t>
    </dgm:pt>
    <dgm:pt modelId="{04AB9A4F-D9FE-47DA-8246-2A78DFA5655C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Su comportamiento hace que las personas se sientan incómodas o crea conflictos innecesarios?</a:t>
          </a:r>
          <a:endParaRPr lang="en-US"/>
        </a:p>
      </dgm:t>
    </dgm:pt>
    <dgm:pt modelId="{EF4C7FAD-6507-4D93-A5CA-31A3D9E541FB}" type="sibTrans" cxnId="{92892853-6B3E-4A34-A2CF-DB7F1DD3439D}">
      <dgm:prSet/>
      <dgm:spPr/>
      <dgm:t>
        <a:bodyPr/>
        <a:lstStyle/>
        <a:p>
          <a:endParaRPr lang="en-US"/>
        </a:p>
      </dgm:t>
    </dgm:pt>
    <dgm:pt modelId="{B4F0A06B-6C5B-49F8-8386-5178C2202F1F}" type="parTrans" cxnId="{790F14FB-EC17-4F48-B29C-43C019BF975D}">
      <dgm:prSet/>
      <dgm:spPr/>
      <dgm:t>
        <a:bodyPr/>
        <a:lstStyle/>
        <a:p>
          <a:endParaRPr lang="en-US"/>
        </a:p>
      </dgm:t>
    </dgm:pt>
    <dgm:pt modelId="{E36DD077-4630-49D3-894A-E54327E79495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Se sentiría avergonzado si sus amigos, familiares o líderes de la comunidad se enteraran de su comportamiento?</a:t>
          </a:r>
          <a:endParaRPr lang="en-US"/>
        </a:p>
      </dgm:t>
    </dgm:pt>
    <dgm:pt modelId="{37C34F6D-8763-4626-85D8-27B76A047C36}" type="sibTrans" cxnId="{790F14FB-EC17-4F48-B29C-43C019BF975D}">
      <dgm:prSet/>
      <dgm:spPr/>
      <dgm:t>
        <a:bodyPr/>
        <a:lstStyle/>
        <a:p>
          <a:endParaRPr lang="en-US"/>
        </a:p>
      </dgm:t>
    </dgm:pt>
    <dgm:pt modelId="{36E166FB-1D32-4380-849D-9E46BEC66E4B}" type="parTrans" cxnId="{40B9BE3B-10B4-4C44-BAAC-D90957040859}">
      <dgm:prSet/>
      <dgm:spPr/>
      <dgm:t>
        <a:bodyPr/>
        <a:lstStyle/>
        <a:p>
          <a:endParaRPr lang="en-US"/>
        </a:p>
      </dgm:t>
    </dgm:pt>
    <dgm:pt modelId="{22A170D8-7824-4DB9-A761-E3407BE28B42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Su comportamiento es relevante o necesario para su trabajo o desempeño?</a:t>
          </a:r>
          <a:endParaRPr lang="en-US"/>
        </a:p>
      </dgm:t>
    </dgm:pt>
    <dgm:pt modelId="{4452BAC6-2866-4B98-816A-4BB16706752C}" type="sibTrans" cxnId="{40B9BE3B-10B4-4C44-BAAC-D90957040859}">
      <dgm:prSet/>
      <dgm:spPr/>
      <dgm:t>
        <a:bodyPr/>
        <a:lstStyle/>
        <a:p>
          <a:endParaRPr lang="en-US"/>
        </a:p>
      </dgm:t>
    </dgm:pt>
    <dgm:pt modelId="{763C86D9-2FBC-451F-807E-0D6E3FC96AC4}" type="parTrans" cxnId="{09D217F1-45D9-420F-8C2C-66DD5D6CE16A}">
      <dgm:prSet/>
      <dgm:spPr/>
      <dgm:t>
        <a:bodyPr/>
        <a:lstStyle/>
        <a:p>
          <a:endParaRPr lang="en-US"/>
        </a:p>
      </dgm:t>
    </dgm:pt>
    <dgm:pt modelId="{99AECD81-A579-436B-B436-13B4FBC1CBD3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2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i responde sí a cualquiera de estas preguntas, piense si lo que está haciendo o diciendo es apropiado.</a:t>
          </a:r>
          <a:endParaRPr lang="en-US"/>
        </a:p>
      </dgm:t>
    </dgm:pt>
    <dgm:pt modelId="{16B654AB-35BC-4062-8FB9-A021A4EDF7E1}" type="sibTrans" cxnId="{09D217F1-45D9-420F-8C2C-66DD5D6CE16A}">
      <dgm:prSet/>
      <dgm:spPr/>
      <dgm:t>
        <a:bodyPr/>
        <a:lstStyle/>
        <a:p>
          <a:endParaRPr lang="en-US"/>
        </a:p>
      </dgm:t>
    </dgm:pt>
    <dgm:pt modelId="{0F90807F-9B06-41A3-9F46-0A44E44457E4}" type="pres">
      <dgm:prSet presAssocID="{ED7DFDA6-E816-47B2-9567-C5BB0EEB594A}" presName="diagram" presStyleCnt="0">
        <dgm:presLayoutVars>
          <dgm:dir/>
          <dgm:resizeHandles val="exact"/>
        </dgm:presLayoutVars>
      </dgm:prSet>
      <dgm:spPr/>
    </dgm:pt>
    <dgm:pt modelId="{6DF8FA57-199B-4FDE-9C3F-99E925313025}" type="pres">
      <dgm:prSet presAssocID="{04AB9A4F-D9FE-47DA-8246-2A78DFA5655C}" presName="node" presStyleLbl="node1" presStyleIdx="0" presStyleCnt="4">
        <dgm:presLayoutVars>
          <dgm:bulletEnabled val="1"/>
        </dgm:presLayoutVars>
      </dgm:prSet>
      <dgm:spPr/>
    </dgm:pt>
    <dgm:pt modelId="{C8248DB2-9292-4124-B95E-ED8B9287618C}" type="pres">
      <dgm:prSet presAssocID="{EF4C7FAD-6507-4D93-A5CA-31A3D9E541FB}" presName="sibTrans" presStyleCnt="0"/>
      <dgm:spPr/>
    </dgm:pt>
    <dgm:pt modelId="{8E972E1B-CF68-4A49-915B-097B6B17B149}" type="pres">
      <dgm:prSet presAssocID="{E36DD077-4630-49D3-894A-E54327E79495}" presName="node" presStyleLbl="node1" presStyleIdx="1" presStyleCnt="4">
        <dgm:presLayoutVars>
          <dgm:bulletEnabled val="1"/>
        </dgm:presLayoutVars>
      </dgm:prSet>
      <dgm:spPr/>
    </dgm:pt>
    <dgm:pt modelId="{A072F57F-2EA5-41A1-9F6E-0A889D4B4517}" type="pres">
      <dgm:prSet presAssocID="{37C34F6D-8763-4626-85D8-27B76A047C36}" presName="sibTrans" presStyleCnt="0"/>
      <dgm:spPr/>
    </dgm:pt>
    <dgm:pt modelId="{243CC102-BC16-4CF6-99B1-D3653BCF54DD}" type="pres">
      <dgm:prSet presAssocID="{22A170D8-7824-4DB9-A761-E3407BE28B42}" presName="node" presStyleLbl="node1" presStyleIdx="2" presStyleCnt="4">
        <dgm:presLayoutVars>
          <dgm:bulletEnabled val="1"/>
        </dgm:presLayoutVars>
      </dgm:prSet>
      <dgm:spPr/>
    </dgm:pt>
    <dgm:pt modelId="{3444DF13-928C-4745-AA5A-98EC000EA8C8}" type="pres">
      <dgm:prSet presAssocID="{4452BAC6-2866-4B98-816A-4BB16706752C}" presName="sibTrans" presStyleCnt="0"/>
      <dgm:spPr/>
    </dgm:pt>
    <dgm:pt modelId="{3345AED3-E8AE-40AD-B56E-281783EF31F5}" type="pres">
      <dgm:prSet presAssocID="{99AECD81-A579-436B-B436-13B4FBC1CBD3}" presName="node" presStyleLbl="node1" presStyleIdx="3" presStyleCnt="4">
        <dgm:presLayoutVars>
          <dgm:bulletEnabled val="1"/>
        </dgm:presLayoutVars>
      </dgm:prSet>
      <dgm:spPr/>
    </dgm:pt>
  </dgm:ptLst>
  <dgm:cxnLst>
    <dgm:cxn modelId="{89177C0A-FBE1-481F-A85F-495ED288F9F7}" type="presOf" srcId="{ED7DFDA6-E816-47B2-9567-C5BB0EEB594A}" destId="{0F90807F-9B06-41A3-9F46-0A44E44457E4}" srcOrd="0" destOrd="0" presId="urn:microsoft.com/office/officeart/2005/8/layout/default"/>
    <dgm:cxn modelId="{40B9BE3B-10B4-4C44-BAAC-D90957040859}" srcId="{ED7DFDA6-E816-47B2-9567-C5BB0EEB594A}" destId="{22A170D8-7824-4DB9-A761-E3407BE28B42}" srcOrd="2" destOrd="0" parTransId="{36E166FB-1D32-4380-849D-9E46BEC66E4B}" sibTransId="{4452BAC6-2866-4B98-816A-4BB16706752C}"/>
    <dgm:cxn modelId="{4948F45D-7227-4397-9C66-5B97FE87DE33}" type="presOf" srcId="{22A170D8-7824-4DB9-A761-E3407BE28B42}" destId="{243CC102-BC16-4CF6-99B1-D3653BCF54DD}" srcOrd="0" destOrd="0" presId="urn:microsoft.com/office/officeart/2005/8/layout/default"/>
    <dgm:cxn modelId="{5270EB51-D5BC-4854-84D6-5D772804EBB2}" type="presOf" srcId="{04AB9A4F-D9FE-47DA-8246-2A78DFA5655C}" destId="{6DF8FA57-199B-4FDE-9C3F-99E925313025}" srcOrd="0" destOrd="0" presId="urn:microsoft.com/office/officeart/2005/8/layout/default"/>
    <dgm:cxn modelId="{92892853-6B3E-4A34-A2CF-DB7F1DD3439D}" srcId="{ED7DFDA6-E816-47B2-9567-C5BB0EEB594A}" destId="{04AB9A4F-D9FE-47DA-8246-2A78DFA5655C}" srcOrd="0" destOrd="0" parTransId="{ED59F25E-8D6B-4DDC-88B3-DDA63EF0643B}" sibTransId="{EF4C7FAD-6507-4D93-A5CA-31A3D9E541FB}"/>
    <dgm:cxn modelId="{87DECEC3-3378-4A97-8CF7-5478819ECAFC}" type="presOf" srcId="{E36DD077-4630-49D3-894A-E54327E79495}" destId="{8E972E1B-CF68-4A49-915B-097B6B17B149}" srcOrd="0" destOrd="0" presId="urn:microsoft.com/office/officeart/2005/8/layout/default"/>
    <dgm:cxn modelId="{E9A92BE7-7AF3-4A9E-AC17-5DEDCEDA435C}" type="presOf" srcId="{99AECD81-A579-436B-B436-13B4FBC1CBD3}" destId="{3345AED3-E8AE-40AD-B56E-281783EF31F5}" srcOrd="0" destOrd="0" presId="urn:microsoft.com/office/officeart/2005/8/layout/default"/>
    <dgm:cxn modelId="{09D217F1-45D9-420F-8C2C-66DD5D6CE16A}" srcId="{ED7DFDA6-E816-47B2-9567-C5BB0EEB594A}" destId="{99AECD81-A579-436B-B436-13B4FBC1CBD3}" srcOrd="3" destOrd="0" parTransId="{763C86D9-2FBC-451F-807E-0D6E3FC96AC4}" sibTransId="{16B654AB-35BC-4062-8FB9-A021A4EDF7E1}"/>
    <dgm:cxn modelId="{790F14FB-EC17-4F48-B29C-43C019BF975D}" srcId="{ED7DFDA6-E816-47B2-9567-C5BB0EEB594A}" destId="{E36DD077-4630-49D3-894A-E54327E79495}" srcOrd="1" destOrd="0" parTransId="{B4F0A06B-6C5B-49F8-8386-5178C2202F1F}" sibTransId="{37C34F6D-8763-4626-85D8-27B76A047C36}"/>
    <dgm:cxn modelId="{3DF60478-AC3A-4814-87B0-672F81FC8F48}" type="presParOf" srcId="{0F90807F-9B06-41A3-9F46-0A44E44457E4}" destId="{6DF8FA57-199B-4FDE-9C3F-99E925313025}" srcOrd="0" destOrd="0" presId="urn:microsoft.com/office/officeart/2005/8/layout/default"/>
    <dgm:cxn modelId="{FBBCA27D-B82F-4BE4-9595-24839C6CBB3B}" type="presParOf" srcId="{0F90807F-9B06-41A3-9F46-0A44E44457E4}" destId="{C8248DB2-9292-4124-B95E-ED8B9287618C}" srcOrd="1" destOrd="0" presId="urn:microsoft.com/office/officeart/2005/8/layout/default"/>
    <dgm:cxn modelId="{304653B2-2175-43F6-9FFE-0E4586240D22}" type="presParOf" srcId="{0F90807F-9B06-41A3-9F46-0A44E44457E4}" destId="{8E972E1B-CF68-4A49-915B-097B6B17B149}" srcOrd="2" destOrd="0" presId="urn:microsoft.com/office/officeart/2005/8/layout/default"/>
    <dgm:cxn modelId="{BC1CC3AC-68BB-4B89-9A82-E9A65B1ED6D7}" type="presParOf" srcId="{0F90807F-9B06-41A3-9F46-0A44E44457E4}" destId="{A072F57F-2EA5-41A1-9F6E-0A889D4B4517}" srcOrd="3" destOrd="0" presId="urn:microsoft.com/office/officeart/2005/8/layout/default"/>
    <dgm:cxn modelId="{B3A4E86D-93C9-4E55-BA3B-08826098A92C}" type="presParOf" srcId="{0F90807F-9B06-41A3-9F46-0A44E44457E4}" destId="{243CC102-BC16-4CF6-99B1-D3653BCF54DD}" srcOrd="4" destOrd="0" presId="urn:microsoft.com/office/officeart/2005/8/layout/default"/>
    <dgm:cxn modelId="{8EED443F-7379-442B-8133-B0B9A22C5DDB}" type="presParOf" srcId="{0F90807F-9B06-41A3-9F46-0A44E44457E4}" destId="{3444DF13-928C-4745-AA5A-98EC000EA8C8}" srcOrd="5" destOrd="0" presId="urn:microsoft.com/office/officeart/2005/8/layout/default"/>
    <dgm:cxn modelId="{544F487B-84FE-42A1-83F2-740F4AFDB213}" type="presParOf" srcId="{0F90807F-9B06-41A3-9F46-0A44E44457E4}" destId="{3345AED3-E8AE-40AD-B56E-281783EF31F5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9FC8E42-7B95-42F1-983B-A5AE72E8C5C0}" type="doc">
      <dgm:prSet loTypeId="urn:diagrams.loki3.com/BracketList" loCatId="officeon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4AC6B5-0AE8-4CF2-984B-CC67AC15CFC5}" type="parTrans" cxnId="{A3D27BC4-95ED-47E9-B864-97D5989EEAE2}">
      <dgm:prSet/>
      <dgm:spPr/>
      <dgm:t>
        <a:bodyPr/>
        <a:lstStyle/>
        <a:p>
          <a:endParaRPr lang="en-US"/>
        </a:p>
      </dgm:t>
    </dgm:pt>
    <dgm:pt modelId="{972C802A-DE7C-4CFB-AB82-96FFF3476E4E}">
      <dgm:prSet phldrT="[Text]" custT="1"/>
      <dgm:spPr>
        <a:noFill/>
        <a:ln>
          <a:noFill/>
        </a:ln>
      </dgm:spPr>
      <dgm:t>
        <a:bodyPr/>
        <a:lstStyle/>
        <a:p>
          <a:r>
            <a:rPr lang="es-LA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tacto visual</a:t>
          </a:r>
        </a:p>
      </dgm:t>
    </dgm:pt>
    <dgm:pt modelId="{FECE0BF8-ECB4-4A4E-8988-734D3D2C1857}" type="parTrans" cxnId="{F2712001-6904-4758-8276-B4D8409FF1CA}">
      <dgm:prSet/>
      <dgm:spPr/>
      <dgm:t>
        <a:bodyPr/>
        <a:lstStyle/>
        <a:p>
          <a:endParaRPr lang="en-US"/>
        </a:p>
      </dgm:t>
    </dgm:pt>
    <dgm:pt modelId="{5F062A7C-B06E-4406-B0DD-354232FCE705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La persona está haciendo contacto visual? ¿O lo están evitando?</a:t>
          </a:r>
        </a:p>
      </dgm:t>
    </dgm:pt>
    <dgm:pt modelId="{CA457DF6-CDBB-4DA3-BD1A-617D376AAEBA}" type="sibTrans" cxnId="{F2712001-6904-4758-8276-B4D8409FF1CA}">
      <dgm:prSet/>
      <dgm:spPr/>
      <dgm:t>
        <a:bodyPr/>
        <a:lstStyle/>
        <a:p>
          <a:endParaRPr lang="en-US"/>
        </a:p>
      </dgm:t>
    </dgm:pt>
    <dgm:pt modelId="{256E1FC6-3853-4AE2-86E4-6245C7BF4F37}" type="sibTrans" cxnId="{A3D27BC4-95ED-47E9-B864-97D5989EEAE2}">
      <dgm:prSet/>
      <dgm:spPr/>
      <dgm:t>
        <a:bodyPr/>
        <a:lstStyle/>
        <a:p>
          <a:endParaRPr lang="en-US"/>
        </a:p>
      </dgm:t>
    </dgm:pt>
    <dgm:pt modelId="{67B9D431-DA4A-4643-B490-76689F1C1084}" type="parTrans" cxnId="{D2878118-2FA7-4A09-B2DE-202FAA2A5A3B}">
      <dgm:prSet/>
      <dgm:spPr/>
      <dgm:t>
        <a:bodyPr/>
        <a:lstStyle/>
        <a:p>
          <a:endParaRPr lang="en-US"/>
        </a:p>
      </dgm:t>
    </dgm:pt>
    <dgm:pt modelId="{F338A198-B74D-4D23-AE14-A82F11E1DAD8}">
      <dgm:prSet phldrT="[Text]" custT="1"/>
      <dgm:spPr>
        <a:noFill/>
        <a:ln>
          <a:noFill/>
        </a:ln>
      </dgm:spPr>
      <dgm:t>
        <a:bodyPr/>
        <a:lstStyle/>
        <a:p>
          <a:r>
            <a:rPr lang="es-LA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xpresiones faciales</a:t>
          </a:r>
        </a:p>
      </dgm:t>
    </dgm:pt>
    <dgm:pt modelId="{64C787F3-2068-421D-BD82-D745F1B49B24}" type="parTrans" cxnId="{B9642F83-8DE2-44E5-B250-30ADDC326CED}">
      <dgm:prSet/>
      <dgm:spPr/>
      <dgm:t>
        <a:bodyPr/>
        <a:lstStyle/>
        <a:p>
          <a:endParaRPr lang="en-US"/>
        </a:p>
      </dgm:t>
    </dgm:pt>
    <dgm:pt modelId="{84A836FC-AAFB-43A3-89CD-795F4C35429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El rostro de la persona expresa calidez e interés? ¿O está en blanco o muestra molestias?</a:t>
          </a:r>
        </a:p>
      </dgm:t>
    </dgm:pt>
    <dgm:pt modelId="{54346FDA-23C8-4590-AE78-C257FFBA5052}" type="sibTrans" cxnId="{B9642F83-8DE2-44E5-B250-30ADDC326CED}">
      <dgm:prSet/>
      <dgm:spPr/>
      <dgm:t>
        <a:bodyPr/>
        <a:lstStyle/>
        <a:p>
          <a:endParaRPr lang="en-US"/>
        </a:p>
      </dgm:t>
    </dgm:pt>
    <dgm:pt modelId="{C58A6317-70AB-4D9F-B558-C995C9E345F3}" type="sibTrans" cxnId="{D2878118-2FA7-4A09-B2DE-202FAA2A5A3B}">
      <dgm:prSet/>
      <dgm:spPr/>
      <dgm:t>
        <a:bodyPr/>
        <a:lstStyle/>
        <a:p>
          <a:endParaRPr lang="en-US"/>
        </a:p>
      </dgm:t>
    </dgm:pt>
    <dgm:pt modelId="{37BEA225-0283-4195-B462-B25B05722CBB}" type="parTrans" cxnId="{193CDC19-636E-438C-90F8-09F711216FCC}">
      <dgm:prSet/>
      <dgm:spPr/>
      <dgm:t>
        <a:bodyPr/>
        <a:lstStyle/>
        <a:p>
          <a:endParaRPr lang="en-US"/>
        </a:p>
      </dgm:t>
    </dgm:pt>
    <dgm:pt modelId="{9B75E048-2AA5-47D4-B202-E2AF294A9841}">
      <dgm:prSet phldrT="[Text]" custT="1"/>
      <dgm:spPr>
        <a:noFill/>
        <a:ln>
          <a:noFill/>
        </a:ln>
      </dgm:spPr>
      <dgm:t>
        <a:bodyPr/>
        <a:lstStyle/>
        <a:p>
          <a:r>
            <a:rPr lang="es-LA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no de voz</a:t>
          </a:r>
        </a:p>
      </dgm:t>
    </dgm:pt>
    <dgm:pt modelId="{9F71C79D-2DD7-4C89-AEFB-6AAFE803B690}" type="parTrans" cxnId="{30DB5270-BF6C-471D-A4B1-88DAE82505CA}">
      <dgm:prSet/>
      <dgm:spPr/>
      <dgm:t>
        <a:bodyPr/>
        <a:lstStyle/>
        <a:p>
          <a:endParaRPr lang="en-US"/>
        </a:p>
      </dgm:t>
    </dgm:pt>
    <dgm:pt modelId="{DDF099B8-1FB4-42BC-8CF7-4F0946E8CE0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La voz de la persona proyecta comodidad o interés? ¿O está tenso?</a:t>
          </a:r>
        </a:p>
      </dgm:t>
    </dgm:pt>
    <dgm:pt modelId="{94CDA1BF-C6A2-44A8-AD23-C61A10A970F6}" type="sibTrans" cxnId="{30DB5270-BF6C-471D-A4B1-88DAE82505CA}">
      <dgm:prSet/>
      <dgm:spPr/>
      <dgm:t>
        <a:bodyPr/>
        <a:lstStyle/>
        <a:p>
          <a:endParaRPr lang="en-US"/>
        </a:p>
      </dgm:t>
    </dgm:pt>
    <dgm:pt modelId="{98FC8C8A-113E-4040-8FD7-F6E4AEB3E5A7}" type="sibTrans" cxnId="{193CDC19-636E-438C-90F8-09F711216FCC}">
      <dgm:prSet/>
      <dgm:spPr/>
      <dgm:t>
        <a:bodyPr/>
        <a:lstStyle/>
        <a:p>
          <a:endParaRPr lang="en-US"/>
        </a:p>
      </dgm:t>
    </dgm:pt>
    <dgm:pt modelId="{9ACD4190-12A2-49CD-AB0A-A5666B7B7918}" type="parTrans" cxnId="{5131BAF3-9A5C-452D-8120-D7D1D31DCDF0}">
      <dgm:prSet/>
      <dgm:spPr/>
      <dgm:t>
        <a:bodyPr/>
        <a:lstStyle/>
        <a:p>
          <a:endParaRPr lang="en-US"/>
        </a:p>
      </dgm:t>
    </dgm:pt>
    <dgm:pt modelId="{6CBE69AA-1EAC-4424-B2B7-3F6E128CB8BA}">
      <dgm:prSet phldrT="[Text]" custT="1"/>
      <dgm:spPr>
        <a:noFill/>
        <a:ln>
          <a:noFill/>
        </a:ln>
      </dgm:spPr>
      <dgm:t>
        <a:bodyPr/>
        <a:lstStyle/>
        <a:p>
          <a:r>
            <a:rPr lang="es-LA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stura y gestos</a:t>
          </a:r>
        </a:p>
      </dgm:t>
    </dgm:pt>
    <dgm:pt modelId="{F38D2D14-BB0A-4111-968D-AD271D79AD40}" type="parTrans" cxnId="{65C3D2C7-7A5C-4CFF-B737-4ED995F2E5A8}">
      <dgm:prSet/>
      <dgm:spPr/>
      <dgm:t>
        <a:bodyPr/>
        <a:lstStyle/>
        <a:p>
          <a:endParaRPr lang="en-US"/>
        </a:p>
      </dgm:t>
    </dgm:pt>
    <dgm:pt modelId="{BD181532-2AC9-4658-A2DD-0F002D433353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El cuerpo de la persona está relajado? ¿O es rígido e inmóvil?</a:t>
          </a:r>
        </a:p>
      </dgm:t>
    </dgm:pt>
    <dgm:pt modelId="{29DE9D28-1260-47FE-910D-47692CA2A79C}" type="sibTrans" cxnId="{65C3D2C7-7A5C-4CFF-B737-4ED995F2E5A8}">
      <dgm:prSet/>
      <dgm:spPr/>
      <dgm:t>
        <a:bodyPr/>
        <a:lstStyle/>
        <a:p>
          <a:endParaRPr lang="en-US"/>
        </a:p>
      </dgm:t>
    </dgm:pt>
    <dgm:pt modelId="{7B16840F-5494-45CE-9189-F7F911A2009B}" type="sibTrans" cxnId="{5131BAF3-9A5C-452D-8120-D7D1D31DCDF0}">
      <dgm:prSet/>
      <dgm:spPr/>
      <dgm:t>
        <a:bodyPr/>
        <a:lstStyle/>
        <a:p>
          <a:endParaRPr lang="en-US"/>
        </a:p>
      </dgm:t>
    </dgm:pt>
    <dgm:pt modelId="{807F1521-882E-4D39-8BF8-417E16E78EDB}" type="parTrans" cxnId="{FD6CFE86-E5B0-4DCF-A0F3-E14A2054DD8B}">
      <dgm:prSet/>
      <dgm:spPr/>
      <dgm:t>
        <a:bodyPr/>
        <a:lstStyle/>
        <a:p>
          <a:endParaRPr lang="en-US"/>
        </a:p>
      </dgm:t>
    </dgm:pt>
    <dgm:pt modelId="{89CC7EA6-749B-42BC-978E-A38075F5C72B}">
      <dgm:prSet phldrT="[Text]" custT="1"/>
      <dgm:spPr>
        <a:noFill/>
        <a:ln>
          <a:noFill/>
        </a:ln>
      </dgm:spPr>
      <dgm:t>
        <a:bodyPr/>
        <a:lstStyle/>
        <a:p>
          <a:r>
            <a:rPr lang="es-LA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iempo y lugar</a:t>
          </a:r>
        </a:p>
      </dgm:t>
    </dgm:pt>
    <dgm:pt modelId="{FDC2816E-1A03-468B-9061-AEA76AC6A994}" type="parTrans" cxnId="{58D72EEA-FD20-4958-A608-E716EBCA0D06}">
      <dgm:prSet/>
      <dgm:spPr/>
      <dgm:t>
        <a:bodyPr/>
        <a:lstStyle/>
        <a:p>
          <a:endParaRPr lang="en-US"/>
        </a:p>
      </dgm:t>
    </dgm:pt>
    <dgm:pt modelId="{CF86E16C-B51F-4AC4-B847-500574210A22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Existe un flujo fácil de información de ida y vuelta? ¿O es en gran medida una conversación unidireccional?</a:t>
          </a:r>
        </a:p>
      </dgm:t>
    </dgm:pt>
    <dgm:pt modelId="{F690D86F-5A1D-4097-8241-2BC5BE27F639}" type="sibTrans" cxnId="{58D72EEA-FD20-4958-A608-E716EBCA0D06}">
      <dgm:prSet/>
      <dgm:spPr/>
      <dgm:t>
        <a:bodyPr/>
        <a:lstStyle/>
        <a:p>
          <a:endParaRPr lang="en-US"/>
        </a:p>
      </dgm:t>
    </dgm:pt>
    <dgm:pt modelId="{343B9B90-5CA5-4DF2-A625-3A6F77D8A08D}" type="sibTrans" cxnId="{FD6CFE86-E5B0-4DCF-A0F3-E14A2054DD8B}">
      <dgm:prSet/>
      <dgm:spPr/>
      <dgm:t>
        <a:bodyPr/>
        <a:lstStyle/>
        <a:p>
          <a:endParaRPr lang="en-US"/>
        </a:p>
      </dgm:t>
    </dgm:pt>
    <dgm:pt modelId="{1D9BFEA0-AC8A-42F4-B30D-03560ADA1EA1}" type="parTrans" cxnId="{F39C3F52-FD1D-4DC4-AE59-78D61246151A}">
      <dgm:prSet/>
      <dgm:spPr/>
      <dgm:t>
        <a:bodyPr/>
        <a:lstStyle/>
        <a:p>
          <a:endParaRPr lang="en-US"/>
        </a:p>
      </dgm:t>
    </dgm:pt>
    <dgm:pt modelId="{D627C789-0051-4A89-95D0-9984E46E197F}">
      <dgm:prSet phldrT="[Text]" custT="1"/>
      <dgm:spPr>
        <a:noFill/>
        <a:ln>
          <a:noFill/>
        </a:ln>
      </dgm:spPr>
      <dgm:t>
        <a:bodyPr/>
        <a:lstStyle/>
        <a:p>
          <a:r>
            <a:rPr lang="es-LA" sz="18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mpromiso</a:t>
          </a:r>
        </a:p>
      </dgm:t>
    </dgm:pt>
    <dgm:pt modelId="{EAD9AE3A-A04C-45C7-881F-78EF9496FA8C}" type="parTrans" cxnId="{1B47AB65-0A9D-496B-970F-47CA98A6D805}">
      <dgm:prSet/>
      <dgm:spPr/>
      <dgm:t>
        <a:bodyPr/>
        <a:lstStyle/>
        <a:p>
          <a:endParaRPr lang="en-US"/>
        </a:p>
      </dgm:t>
    </dgm:pt>
    <dgm:pt modelId="{DA8ECFEB-D442-451D-8936-BBB3F6B74CCF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Parece la persona estar disfrutando de la conversación? ¿O están buscando una salida a la interacción?</a:t>
          </a:r>
        </a:p>
      </dgm:t>
    </dgm:pt>
    <dgm:pt modelId="{97E46952-7C1B-4E28-9386-BD36EE33617D}" type="sibTrans" cxnId="{1B47AB65-0A9D-496B-970F-47CA98A6D805}">
      <dgm:prSet/>
      <dgm:spPr/>
      <dgm:t>
        <a:bodyPr/>
        <a:lstStyle/>
        <a:p>
          <a:endParaRPr lang="en-US"/>
        </a:p>
      </dgm:t>
    </dgm:pt>
    <dgm:pt modelId="{93187921-8FD1-4FDC-8010-6C08D72CF9A5}" type="sibTrans" cxnId="{F39C3F52-FD1D-4DC4-AE59-78D61246151A}">
      <dgm:prSet/>
      <dgm:spPr/>
      <dgm:t>
        <a:bodyPr/>
        <a:lstStyle/>
        <a:p>
          <a:endParaRPr lang="en-US"/>
        </a:p>
      </dgm:t>
    </dgm:pt>
    <dgm:pt modelId="{60E112F2-CD0F-460D-921B-374A913F71ED}" type="pres">
      <dgm:prSet presAssocID="{A9FC8E42-7B95-42F1-983B-A5AE72E8C5C0}" presName="Name0" presStyleCnt="0">
        <dgm:presLayoutVars>
          <dgm:dir/>
          <dgm:animLvl val="lvl"/>
          <dgm:resizeHandles val="exact"/>
        </dgm:presLayoutVars>
      </dgm:prSet>
      <dgm:spPr/>
    </dgm:pt>
    <dgm:pt modelId="{1A038524-604E-4D2F-9D7E-113C69B7C141}" type="pres">
      <dgm:prSet presAssocID="{972C802A-DE7C-4CFB-AB82-96FFF3476E4E}" presName="linNode" presStyleCnt="0"/>
      <dgm:spPr/>
    </dgm:pt>
    <dgm:pt modelId="{66F51E0D-D045-4E2B-AB0C-4F2EC15C2742}" type="pres">
      <dgm:prSet presAssocID="{972C802A-DE7C-4CFB-AB82-96FFF3476E4E}" presName="parTx" presStyleLbl="revTx" presStyleIdx="0" presStyleCnt="6">
        <dgm:presLayoutVars>
          <dgm:chMax val="1"/>
          <dgm:bulletEnabled val="1"/>
        </dgm:presLayoutVars>
      </dgm:prSet>
      <dgm:spPr/>
    </dgm:pt>
    <dgm:pt modelId="{FC80247D-E118-4105-90BF-F29AB52D411B}" type="pres">
      <dgm:prSet presAssocID="{972C802A-DE7C-4CFB-AB82-96FFF3476E4E}" presName="bracket" presStyleLbl="parChTrans1D1" presStyleIdx="0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0FD2FB49-ED8B-4824-AEAF-3A94420311F8}" type="pres">
      <dgm:prSet presAssocID="{972C802A-DE7C-4CFB-AB82-96FFF3476E4E}" presName="spH" presStyleCnt="0"/>
      <dgm:spPr/>
    </dgm:pt>
    <dgm:pt modelId="{D5929079-7C2E-4F45-A6B9-1B7792F83AEF}" type="pres">
      <dgm:prSet presAssocID="{972C802A-DE7C-4CFB-AB82-96FFF3476E4E}" presName="desTx" presStyleLbl="node1" presStyleIdx="0" presStyleCnt="6">
        <dgm:presLayoutVars>
          <dgm:bulletEnabled val="1"/>
        </dgm:presLayoutVars>
      </dgm:prSet>
      <dgm:spPr/>
    </dgm:pt>
    <dgm:pt modelId="{7DF0E247-63B9-4008-A971-6F49D7F9E081}" type="pres">
      <dgm:prSet presAssocID="{256E1FC6-3853-4AE2-86E4-6245C7BF4F37}" presName="spV" presStyleCnt="0"/>
      <dgm:spPr/>
    </dgm:pt>
    <dgm:pt modelId="{E59D26DB-AF0C-4FA9-84AF-32ED08C4AC0A}" type="pres">
      <dgm:prSet presAssocID="{F338A198-B74D-4D23-AE14-A82F11E1DAD8}" presName="linNode" presStyleCnt="0"/>
      <dgm:spPr/>
    </dgm:pt>
    <dgm:pt modelId="{33D9AD84-C2DD-43AA-B8C0-6E15771BE78B}" type="pres">
      <dgm:prSet presAssocID="{F338A198-B74D-4D23-AE14-A82F11E1DAD8}" presName="parTx" presStyleLbl="revTx" presStyleIdx="1" presStyleCnt="6">
        <dgm:presLayoutVars>
          <dgm:chMax val="1"/>
          <dgm:bulletEnabled val="1"/>
        </dgm:presLayoutVars>
      </dgm:prSet>
      <dgm:spPr/>
    </dgm:pt>
    <dgm:pt modelId="{9117B35D-C06B-428F-8A45-50C11E8FFA23}" type="pres">
      <dgm:prSet presAssocID="{F338A198-B74D-4D23-AE14-A82F11E1DAD8}" presName="bracket" presStyleLbl="parChTrans1D1" presStyleIdx="1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EA474D2E-5346-44AA-8F49-9AD64CE626D8}" type="pres">
      <dgm:prSet presAssocID="{F338A198-B74D-4D23-AE14-A82F11E1DAD8}" presName="spH" presStyleCnt="0"/>
      <dgm:spPr/>
    </dgm:pt>
    <dgm:pt modelId="{34E5CFAF-7A5E-4128-8997-A5651A906319}" type="pres">
      <dgm:prSet presAssocID="{F338A198-B74D-4D23-AE14-A82F11E1DAD8}" presName="desTx" presStyleLbl="node1" presStyleIdx="1" presStyleCnt="6">
        <dgm:presLayoutVars>
          <dgm:bulletEnabled val="1"/>
        </dgm:presLayoutVars>
      </dgm:prSet>
      <dgm:spPr/>
    </dgm:pt>
    <dgm:pt modelId="{00C54DFA-A3F8-406C-B094-0E3D2CF0786D}" type="pres">
      <dgm:prSet presAssocID="{C58A6317-70AB-4D9F-B558-C995C9E345F3}" presName="spV" presStyleCnt="0"/>
      <dgm:spPr/>
    </dgm:pt>
    <dgm:pt modelId="{92973F54-1F5B-4C40-BBAB-9E62B4F56DA9}" type="pres">
      <dgm:prSet presAssocID="{9B75E048-2AA5-47D4-B202-E2AF294A9841}" presName="linNode" presStyleCnt="0"/>
      <dgm:spPr/>
    </dgm:pt>
    <dgm:pt modelId="{5400C3F5-CC03-4C92-9C64-BD6ED3005EC2}" type="pres">
      <dgm:prSet presAssocID="{9B75E048-2AA5-47D4-B202-E2AF294A9841}" presName="parTx" presStyleLbl="revTx" presStyleIdx="2" presStyleCnt="6">
        <dgm:presLayoutVars>
          <dgm:chMax val="1"/>
          <dgm:bulletEnabled val="1"/>
        </dgm:presLayoutVars>
      </dgm:prSet>
      <dgm:spPr/>
    </dgm:pt>
    <dgm:pt modelId="{C3AF3EC1-996A-46C1-B710-476892751235}" type="pres">
      <dgm:prSet presAssocID="{9B75E048-2AA5-47D4-B202-E2AF294A9841}" presName="bracket" presStyleLbl="parChTrans1D1" presStyleIdx="2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7A4A087B-252F-42E5-A266-D59FD817BE35}" type="pres">
      <dgm:prSet presAssocID="{9B75E048-2AA5-47D4-B202-E2AF294A9841}" presName="spH" presStyleCnt="0"/>
      <dgm:spPr/>
    </dgm:pt>
    <dgm:pt modelId="{2A87B468-0784-4F3F-9515-BBB3492CC8A0}" type="pres">
      <dgm:prSet presAssocID="{9B75E048-2AA5-47D4-B202-E2AF294A9841}" presName="desTx" presStyleLbl="node1" presStyleIdx="2" presStyleCnt="6">
        <dgm:presLayoutVars>
          <dgm:bulletEnabled val="1"/>
        </dgm:presLayoutVars>
      </dgm:prSet>
      <dgm:spPr/>
    </dgm:pt>
    <dgm:pt modelId="{DB5F5B3A-2AB1-40C7-A339-6D58ABE1BB22}" type="pres">
      <dgm:prSet presAssocID="{98FC8C8A-113E-4040-8FD7-F6E4AEB3E5A7}" presName="spV" presStyleCnt="0"/>
      <dgm:spPr/>
    </dgm:pt>
    <dgm:pt modelId="{308F86B7-D941-4219-B1EF-1DF0218329AF}" type="pres">
      <dgm:prSet presAssocID="{6CBE69AA-1EAC-4424-B2B7-3F6E128CB8BA}" presName="linNode" presStyleCnt="0"/>
      <dgm:spPr/>
    </dgm:pt>
    <dgm:pt modelId="{85BD6EBC-B7BD-4283-9195-03758FD188DF}" type="pres">
      <dgm:prSet presAssocID="{6CBE69AA-1EAC-4424-B2B7-3F6E128CB8BA}" presName="parTx" presStyleLbl="revTx" presStyleIdx="3" presStyleCnt="6">
        <dgm:presLayoutVars>
          <dgm:chMax val="1"/>
          <dgm:bulletEnabled val="1"/>
        </dgm:presLayoutVars>
      </dgm:prSet>
      <dgm:spPr/>
    </dgm:pt>
    <dgm:pt modelId="{E0FC9C9B-F53E-4A4C-8BA2-1529EE697C2B}" type="pres">
      <dgm:prSet presAssocID="{6CBE69AA-1EAC-4424-B2B7-3F6E128CB8BA}" presName="bracket" presStyleLbl="parChTrans1D1" presStyleIdx="3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F34B3F96-6075-42A2-BF96-870BB31D26EF}" type="pres">
      <dgm:prSet presAssocID="{6CBE69AA-1EAC-4424-B2B7-3F6E128CB8BA}" presName="spH" presStyleCnt="0"/>
      <dgm:spPr/>
    </dgm:pt>
    <dgm:pt modelId="{0ECD8488-674C-4C0C-9655-2C89CD3ACFBA}" type="pres">
      <dgm:prSet presAssocID="{6CBE69AA-1EAC-4424-B2B7-3F6E128CB8BA}" presName="desTx" presStyleLbl="node1" presStyleIdx="3" presStyleCnt="6">
        <dgm:presLayoutVars>
          <dgm:bulletEnabled val="1"/>
        </dgm:presLayoutVars>
      </dgm:prSet>
      <dgm:spPr/>
    </dgm:pt>
    <dgm:pt modelId="{6D7C8854-9976-4879-849A-A5B35E279A0D}" type="pres">
      <dgm:prSet presAssocID="{7B16840F-5494-45CE-9189-F7F911A2009B}" presName="spV" presStyleCnt="0"/>
      <dgm:spPr/>
    </dgm:pt>
    <dgm:pt modelId="{24457AD7-6E8B-451C-9C78-107477CEA4C7}" type="pres">
      <dgm:prSet presAssocID="{89CC7EA6-749B-42BC-978E-A38075F5C72B}" presName="linNode" presStyleCnt="0"/>
      <dgm:spPr/>
    </dgm:pt>
    <dgm:pt modelId="{A3CD7AA6-38F4-4A44-AF0C-AA53CC2A4238}" type="pres">
      <dgm:prSet presAssocID="{89CC7EA6-749B-42BC-978E-A38075F5C72B}" presName="parTx" presStyleLbl="revTx" presStyleIdx="4" presStyleCnt="6">
        <dgm:presLayoutVars>
          <dgm:chMax val="1"/>
          <dgm:bulletEnabled val="1"/>
        </dgm:presLayoutVars>
      </dgm:prSet>
      <dgm:spPr/>
    </dgm:pt>
    <dgm:pt modelId="{A0BBA243-A395-4F9E-9DD5-840A3D69F33B}" type="pres">
      <dgm:prSet presAssocID="{89CC7EA6-749B-42BC-978E-A38075F5C72B}" presName="bracket" presStyleLbl="parChTrans1D1" presStyleIdx="4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9650CA60-831C-4DAE-AD3E-09277EDC17F8}" type="pres">
      <dgm:prSet presAssocID="{89CC7EA6-749B-42BC-978E-A38075F5C72B}" presName="spH" presStyleCnt="0"/>
      <dgm:spPr/>
    </dgm:pt>
    <dgm:pt modelId="{66AAEBA6-B695-4691-8B00-49D1E4CA4B7B}" type="pres">
      <dgm:prSet presAssocID="{89CC7EA6-749B-42BC-978E-A38075F5C72B}" presName="desTx" presStyleLbl="node1" presStyleIdx="4" presStyleCnt="6">
        <dgm:presLayoutVars>
          <dgm:bulletEnabled val="1"/>
        </dgm:presLayoutVars>
      </dgm:prSet>
      <dgm:spPr/>
    </dgm:pt>
    <dgm:pt modelId="{A5ED09AD-6A6C-4925-BEC7-2C2EBCB9A713}" type="pres">
      <dgm:prSet presAssocID="{343B9B90-5CA5-4DF2-A625-3A6F77D8A08D}" presName="spV" presStyleCnt="0"/>
      <dgm:spPr/>
    </dgm:pt>
    <dgm:pt modelId="{79C6ACE2-EAD3-40F1-A40D-7C08DA6A36F9}" type="pres">
      <dgm:prSet presAssocID="{D627C789-0051-4A89-95D0-9984E46E197F}" presName="linNode" presStyleCnt="0"/>
      <dgm:spPr/>
    </dgm:pt>
    <dgm:pt modelId="{1165B149-41F8-4D08-BA1A-5857706E9CDE}" type="pres">
      <dgm:prSet presAssocID="{D627C789-0051-4A89-95D0-9984E46E197F}" presName="parTx" presStyleLbl="revTx" presStyleIdx="5" presStyleCnt="6">
        <dgm:presLayoutVars>
          <dgm:chMax val="1"/>
          <dgm:bulletEnabled val="1"/>
        </dgm:presLayoutVars>
      </dgm:prSet>
      <dgm:spPr/>
    </dgm:pt>
    <dgm:pt modelId="{0A6E157B-C627-4B14-8B26-59B96448430A}" type="pres">
      <dgm:prSet presAssocID="{D627C789-0051-4A89-95D0-9984E46E197F}" presName="bracket" presStyleLbl="parChTrans1D1" presStyleIdx="5" presStyleCnt="6"/>
      <dgm:spPr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</dgm:pt>
    <dgm:pt modelId="{2D612181-86BE-42DF-B0C0-83C5CE48BEBE}" type="pres">
      <dgm:prSet presAssocID="{D627C789-0051-4A89-95D0-9984E46E197F}" presName="spH" presStyleCnt="0"/>
      <dgm:spPr/>
    </dgm:pt>
    <dgm:pt modelId="{B846999F-8B22-4EFB-AAE0-C9D0AFC0A833}" type="pres">
      <dgm:prSet presAssocID="{D627C789-0051-4A89-95D0-9984E46E197F}" presName="desTx" presStyleLbl="node1" presStyleIdx="5" presStyleCnt="6">
        <dgm:presLayoutVars>
          <dgm:bulletEnabled val="1"/>
        </dgm:presLayoutVars>
      </dgm:prSet>
      <dgm:spPr/>
    </dgm:pt>
  </dgm:ptLst>
  <dgm:cxnLst>
    <dgm:cxn modelId="{F2712001-6904-4758-8276-B4D8409FF1CA}" srcId="{972C802A-DE7C-4CFB-AB82-96FFF3476E4E}" destId="{5F062A7C-B06E-4406-B0DD-354232FCE705}" srcOrd="0" destOrd="0" parTransId="{FECE0BF8-ECB4-4A4E-8988-734D3D2C1857}" sibTransId="{CA457DF6-CDBB-4DA3-BD1A-617D376AAEBA}"/>
    <dgm:cxn modelId="{9A7E8D0E-34C1-4EC2-A67A-A8D7AA3948B5}" type="presOf" srcId="{972C802A-DE7C-4CFB-AB82-96FFF3476E4E}" destId="{66F51E0D-D045-4E2B-AB0C-4F2EC15C2742}" srcOrd="0" destOrd="0" presId="urn:diagrams.loki3.com/BracketList"/>
    <dgm:cxn modelId="{605B100F-4C7A-4B8B-AD07-D75B5A495873}" type="presOf" srcId="{D627C789-0051-4A89-95D0-9984E46E197F}" destId="{1165B149-41F8-4D08-BA1A-5857706E9CDE}" srcOrd="0" destOrd="0" presId="urn:diagrams.loki3.com/BracketList"/>
    <dgm:cxn modelId="{356AFE17-C1A2-470C-8D20-1312998922B2}" type="presOf" srcId="{BD181532-2AC9-4658-A2DD-0F002D433353}" destId="{0ECD8488-674C-4C0C-9655-2C89CD3ACFBA}" srcOrd="0" destOrd="0" presId="urn:diagrams.loki3.com/BracketList"/>
    <dgm:cxn modelId="{D2878118-2FA7-4A09-B2DE-202FAA2A5A3B}" srcId="{A9FC8E42-7B95-42F1-983B-A5AE72E8C5C0}" destId="{F338A198-B74D-4D23-AE14-A82F11E1DAD8}" srcOrd="1" destOrd="0" parTransId="{67B9D431-DA4A-4643-B490-76689F1C1084}" sibTransId="{C58A6317-70AB-4D9F-B558-C995C9E345F3}"/>
    <dgm:cxn modelId="{193CDC19-636E-438C-90F8-09F711216FCC}" srcId="{A9FC8E42-7B95-42F1-983B-A5AE72E8C5C0}" destId="{9B75E048-2AA5-47D4-B202-E2AF294A9841}" srcOrd="2" destOrd="0" parTransId="{37BEA225-0283-4195-B462-B25B05722CBB}" sibTransId="{98FC8C8A-113E-4040-8FD7-F6E4AEB3E5A7}"/>
    <dgm:cxn modelId="{5A1D0545-4163-40F1-872B-767725D770F7}" type="presOf" srcId="{DA8ECFEB-D442-451D-8936-BBB3F6B74CCF}" destId="{B846999F-8B22-4EFB-AAE0-C9D0AFC0A833}" srcOrd="0" destOrd="0" presId="urn:diagrams.loki3.com/BracketList"/>
    <dgm:cxn modelId="{1B47AB65-0A9D-496B-970F-47CA98A6D805}" srcId="{D627C789-0051-4A89-95D0-9984E46E197F}" destId="{DA8ECFEB-D442-451D-8936-BBB3F6B74CCF}" srcOrd="0" destOrd="0" parTransId="{EAD9AE3A-A04C-45C7-881F-78EF9496FA8C}" sibTransId="{97E46952-7C1B-4E28-9386-BD36EE33617D}"/>
    <dgm:cxn modelId="{FA5EF548-BE01-4976-B1EA-1CD13BD2FB7F}" type="presOf" srcId="{F338A198-B74D-4D23-AE14-A82F11E1DAD8}" destId="{33D9AD84-C2DD-43AA-B8C0-6E15771BE78B}" srcOrd="0" destOrd="0" presId="urn:diagrams.loki3.com/BracketList"/>
    <dgm:cxn modelId="{A359C769-19E8-4994-8CDD-568F5E86803F}" type="presOf" srcId="{9B75E048-2AA5-47D4-B202-E2AF294A9841}" destId="{5400C3F5-CC03-4C92-9C64-BD6ED3005EC2}" srcOrd="0" destOrd="0" presId="urn:diagrams.loki3.com/BracketList"/>
    <dgm:cxn modelId="{EDAFF069-4172-4B02-AB79-B079CFDC5853}" type="presOf" srcId="{6CBE69AA-1EAC-4424-B2B7-3F6E128CB8BA}" destId="{85BD6EBC-B7BD-4283-9195-03758FD188DF}" srcOrd="0" destOrd="0" presId="urn:diagrams.loki3.com/BracketList"/>
    <dgm:cxn modelId="{30DB5270-BF6C-471D-A4B1-88DAE82505CA}" srcId="{9B75E048-2AA5-47D4-B202-E2AF294A9841}" destId="{DDF099B8-1FB4-42BC-8CF7-4F0946E8CE06}" srcOrd="0" destOrd="0" parTransId="{9F71C79D-2DD7-4C89-AEFB-6AAFE803B690}" sibTransId="{94CDA1BF-C6A2-44A8-AD23-C61A10A970F6}"/>
    <dgm:cxn modelId="{F39C3F52-FD1D-4DC4-AE59-78D61246151A}" srcId="{A9FC8E42-7B95-42F1-983B-A5AE72E8C5C0}" destId="{D627C789-0051-4A89-95D0-9984E46E197F}" srcOrd="5" destOrd="0" parTransId="{1D9BFEA0-AC8A-42F4-B30D-03560ADA1EA1}" sibTransId="{93187921-8FD1-4FDC-8010-6C08D72CF9A5}"/>
    <dgm:cxn modelId="{C0E4747C-2E93-46B0-8A8A-60BC3751F082}" type="presOf" srcId="{84A836FC-AAFB-43A3-89CD-795F4C354296}" destId="{34E5CFAF-7A5E-4128-8997-A5651A906319}" srcOrd="0" destOrd="0" presId="urn:diagrams.loki3.com/BracketList"/>
    <dgm:cxn modelId="{843D8D7E-8173-406C-81A1-D55D85345CF4}" type="presOf" srcId="{5F062A7C-B06E-4406-B0DD-354232FCE705}" destId="{D5929079-7C2E-4F45-A6B9-1B7792F83AEF}" srcOrd="0" destOrd="0" presId="urn:diagrams.loki3.com/BracketList"/>
    <dgm:cxn modelId="{41EC2882-5341-48C2-9024-76F814FA1B95}" type="presOf" srcId="{CF86E16C-B51F-4AC4-B847-500574210A22}" destId="{66AAEBA6-B695-4691-8B00-49D1E4CA4B7B}" srcOrd="0" destOrd="0" presId="urn:diagrams.loki3.com/BracketList"/>
    <dgm:cxn modelId="{B9642F83-8DE2-44E5-B250-30ADDC326CED}" srcId="{F338A198-B74D-4D23-AE14-A82F11E1DAD8}" destId="{84A836FC-AAFB-43A3-89CD-795F4C354296}" srcOrd="0" destOrd="0" parTransId="{64C787F3-2068-421D-BD82-D745F1B49B24}" sibTransId="{54346FDA-23C8-4590-AE78-C257FFBA5052}"/>
    <dgm:cxn modelId="{FD6CFE86-E5B0-4DCF-A0F3-E14A2054DD8B}" srcId="{A9FC8E42-7B95-42F1-983B-A5AE72E8C5C0}" destId="{89CC7EA6-749B-42BC-978E-A38075F5C72B}" srcOrd="4" destOrd="0" parTransId="{807F1521-882E-4D39-8BF8-417E16E78EDB}" sibTransId="{343B9B90-5CA5-4DF2-A625-3A6F77D8A08D}"/>
    <dgm:cxn modelId="{0CFE0193-B1E5-44E9-9D40-53EF1B76DCCE}" type="presOf" srcId="{89CC7EA6-749B-42BC-978E-A38075F5C72B}" destId="{A3CD7AA6-38F4-4A44-AF0C-AA53CC2A4238}" srcOrd="0" destOrd="0" presId="urn:diagrams.loki3.com/BracketList"/>
    <dgm:cxn modelId="{3D5900C1-AC0F-49FC-BE20-135760B7BD6A}" type="presOf" srcId="{A9FC8E42-7B95-42F1-983B-A5AE72E8C5C0}" destId="{60E112F2-CD0F-460D-921B-374A913F71ED}" srcOrd="0" destOrd="0" presId="urn:diagrams.loki3.com/BracketList"/>
    <dgm:cxn modelId="{A3D27BC4-95ED-47E9-B864-97D5989EEAE2}" srcId="{A9FC8E42-7B95-42F1-983B-A5AE72E8C5C0}" destId="{972C802A-DE7C-4CFB-AB82-96FFF3476E4E}" srcOrd="0" destOrd="0" parTransId="{EB4AC6B5-0AE8-4CF2-984B-CC67AC15CFC5}" sibTransId="{256E1FC6-3853-4AE2-86E4-6245C7BF4F37}"/>
    <dgm:cxn modelId="{65C3D2C7-7A5C-4CFF-B737-4ED995F2E5A8}" srcId="{6CBE69AA-1EAC-4424-B2B7-3F6E128CB8BA}" destId="{BD181532-2AC9-4658-A2DD-0F002D433353}" srcOrd="0" destOrd="0" parTransId="{F38D2D14-BB0A-4111-968D-AD271D79AD40}" sibTransId="{29DE9D28-1260-47FE-910D-47692CA2A79C}"/>
    <dgm:cxn modelId="{FC1DCBD3-354E-4406-8160-79B18C140703}" type="presOf" srcId="{DDF099B8-1FB4-42BC-8CF7-4F0946E8CE06}" destId="{2A87B468-0784-4F3F-9515-BBB3492CC8A0}" srcOrd="0" destOrd="0" presId="urn:diagrams.loki3.com/BracketList"/>
    <dgm:cxn modelId="{58D72EEA-FD20-4958-A608-E716EBCA0D06}" srcId="{89CC7EA6-749B-42BC-978E-A38075F5C72B}" destId="{CF86E16C-B51F-4AC4-B847-500574210A22}" srcOrd="0" destOrd="0" parTransId="{FDC2816E-1A03-468B-9061-AEA76AC6A994}" sibTransId="{F690D86F-5A1D-4097-8241-2BC5BE27F639}"/>
    <dgm:cxn modelId="{5131BAF3-9A5C-452D-8120-D7D1D31DCDF0}" srcId="{A9FC8E42-7B95-42F1-983B-A5AE72E8C5C0}" destId="{6CBE69AA-1EAC-4424-B2B7-3F6E128CB8BA}" srcOrd="3" destOrd="0" parTransId="{9ACD4190-12A2-49CD-AB0A-A5666B7B7918}" sibTransId="{7B16840F-5494-45CE-9189-F7F911A2009B}"/>
    <dgm:cxn modelId="{278AFC9B-DAD9-46E5-BB89-6F75D8E55FD4}" type="presParOf" srcId="{60E112F2-CD0F-460D-921B-374A913F71ED}" destId="{1A038524-604E-4D2F-9D7E-113C69B7C141}" srcOrd="0" destOrd="0" presId="urn:diagrams.loki3.com/BracketList"/>
    <dgm:cxn modelId="{B1C69480-F77F-42C8-95B6-67A84574A6F3}" type="presParOf" srcId="{1A038524-604E-4D2F-9D7E-113C69B7C141}" destId="{66F51E0D-D045-4E2B-AB0C-4F2EC15C2742}" srcOrd="0" destOrd="0" presId="urn:diagrams.loki3.com/BracketList"/>
    <dgm:cxn modelId="{CE5CCF3F-CE2A-477F-85F1-09823194FA17}" type="presParOf" srcId="{1A038524-604E-4D2F-9D7E-113C69B7C141}" destId="{FC80247D-E118-4105-90BF-F29AB52D411B}" srcOrd="1" destOrd="0" presId="urn:diagrams.loki3.com/BracketList"/>
    <dgm:cxn modelId="{2BE1B050-4CFD-4021-B4CD-BBE4520BB249}" type="presParOf" srcId="{1A038524-604E-4D2F-9D7E-113C69B7C141}" destId="{0FD2FB49-ED8B-4824-AEAF-3A94420311F8}" srcOrd="2" destOrd="0" presId="urn:diagrams.loki3.com/BracketList"/>
    <dgm:cxn modelId="{26FD52BB-893A-464E-BE49-A36E5A2EA41F}" type="presParOf" srcId="{1A038524-604E-4D2F-9D7E-113C69B7C141}" destId="{D5929079-7C2E-4F45-A6B9-1B7792F83AEF}" srcOrd="3" destOrd="0" presId="urn:diagrams.loki3.com/BracketList"/>
    <dgm:cxn modelId="{7A25BD65-51D5-4A5D-9729-0A4AA6B06604}" type="presParOf" srcId="{60E112F2-CD0F-460D-921B-374A913F71ED}" destId="{7DF0E247-63B9-4008-A971-6F49D7F9E081}" srcOrd="1" destOrd="0" presId="urn:diagrams.loki3.com/BracketList"/>
    <dgm:cxn modelId="{0131B843-1538-443F-9307-BD5EFB23AD00}" type="presParOf" srcId="{60E112F2-CD0F-460D-921B-374A913F71ED}" destId="{E59D26DB-AF0C-4FA9-84AF-32ED08C4AC0A}" srcOrd="2" destOrd="0" presId="urn:diagrams.loki3.com/BracketList"/>
    <dgm:cxn modelId="{E96B1A06-8C24-456F-AC3A-5F7DD9490FD6}" type="presParOf" srcId="{E59D26DB-AF0C-4FA9-84AF-32ED08C4AC0A}" destId="{33D9AD84-C2DD-43AA-B8C0-6E15771BE78B}" srcOrd="0" destOrd="0" presId="urn:diagrams.loki3.com/BracketList"/>
    <dgm:cxn modelId="{FC3149D7-B408-42EF-96D2-80D3A4557FA7}" type="presParOf" srcId="{E59D26DB-AF0C-4FA9-84AF-32ED08C4AC0A}" destId="{9117B35D-C06B-428F-8A45-50C11E8FFA23}" srcOrd="1" destOrd="0" presId="urn:diagrams.loki3.com/BracketList"/>
    <dgm:cxn modelId="{2E220C4D-BBBC-4146-9417-1D243DEBA86A}" type="presParOf" srcId="{E59D26DB-AF0C-4FA9-84AF-32ED08C4AC0A}" destId="{EA474D2E-5346-44AA-8F49-9AD64CE626D8}" srcOrd="2" destOrd="0" presId="urn:diagrams.loki3.com/BracketList"/>
    <dgm:cxn modelId="{74EB42E1-2B54-40DF-8940-8DE861C47C87}" type="presParOf" srcId="{E59D26DB-AF0C-4FA9-84AF-32ED08C4AC0A}" destId="{34E5CFAF-7A5E-4128-8997-A5651A906319}" srcOrd="3" destOrd="0" presId="urn:diagrams.loki3.com/BracketList"/>
    <dgm:cxn modelId="{C391BC8A-3B1F-4012-96E3-9F9776B17B54}" type="presParOf" srcId="{60E112F2-CD0F-460D-921B-374A913F71ED}" destId="{00C54DFA-A3F8-406C-B094-0E3D2CF0786D}" srcOrd="3" destOrd="0" presId="urn:diagrams.loki3.com/BracketList"/>
    <dgm:cxn modelId="{2467824A-E123-412D-9390-1AA30ABCF19C}" type="presParOf" srcId="{60E112F2-CD0F-460D-921B-374A913F71ED}" destId="{92973F54-1F5B-4C40-BBAB-9E62B4F56DA9}" srcOrd="4" destOrd="0" presId="urn:diagrams.loki3.com/BracketList"/>
    <dgm:cxn modelId="{46063569-3C83-48F8-9711-58A5C170EF69}" type="presParOf" srcId="{92973F54-1F5B-4C40-BBAB-9E62B4F56DA9}" destId="{5400C3F5-CC03-4C92-9C64-BD6ED3005EC2}" srcOrd="0" destOrd="0" presId="urn:diagrams.loki3.com/BracketList"/>
    <dgm:cxn modelId="{8883D8C6-5356-459D-96CF-426E21C5F893}" type="presParOf" srcId="{92973F54-1F5B-4C40-BBAB-9E62B4F56DA9}" destId="{C3AF3EC1-996A-46C1-B710-476892751235}" srcOrd="1" destOrd="0" presId="urn:diagrams.loki3.com/BracketList"/>
    <dgm:cxn modelId="{303FB302-6E7A-4486-8F88-CB05521E2E6D}" type="presParOf" srcId="{92973F54-1F5B-4C40-BBAB-9E62B4F56DA9}" destId="{7A4A087B-252F-42E5-A266-D59FD817BE35}" srcOrd="2" destOrd="0" presId="urn:diagrams.loki3.com/BracketList"/>
    <dgm:cxn modelId="{BF810C5F-207D-4445-8E80-8621FB448C8E}" type="presParOf" srcId="{92973F54-1F5B-4C40-BBAB-9E62B4F56DA9}" destId="{2A87B468-0784-4F3F-9515-BBB3492CC8A0}" srcOrd="3" destOrd="0" presId="urn:diagrams.loki3.com/BracketList"/>
    <dgm:cxn modelId="{BE094915-BAF1-4648-B08A-07363E1B7B96}" type="presParOf" srcId="{60E112F2-CD0F-460D-921B-374A913F71ED}" destId="{DB5F5B3A-2AB1-40C7-A339-6D58ABE1BB22}" srcOrd="5" destOrd="0" presId="urn:diagrams.loki3.com/BracketList"/>
    <dgm:cxn modelId="{C52A6E1B-1D8F-4545-A04D-5FC99F1FB2DB}" type="presParOf" srcId="{60E112F2-CD0F-460D-921B-374A913F71ED}" destId="{308F86B7-D941-4219-B1EF-1DF0218329AF}" srcOrd="6" destOrd="0" presId="urn:diagrams.loki3.com/BracketList"/>
    <dgm:cxn modelId="{623402DF-9CAD-4CC9-99FE-FC685E261EBE}" type="presParOf" srcId="{308F86B7-D941-4219-B1EF-1DF0218329AF}" destId="{85BD6EBC-B7BD-4283-9195-03758FD188DF}" srcOrd="0" destOrd="0" presId="urn:diagrams.loki3.com/BracketList"/>
    <dgm:cxn modelId="{A991D5DE-3E43-4D36-BA84-9478B1F550BA}" type="presParOf" srcId="{308F86B7-D941-4219-B1EF-1DF0218329AF}" destId="{E0FC9C9B-F53E-4A4C-8BA2-1529EE697C2B}" srcOrd="1" destOrd="0" presId="urn:diagrams.loki3.com/BracketList"/>
    <dgm:cxn modelId="{261FC155-BF0B-43E8-9E5C-B07BF4B77636}" type="presParOf" srcId="{308F86B7-D941-4219-B1EF-1DF0218329AF}" destId="{F34B3F96-6075-42A2-BF96-870BB31D26EF}" srcOrd="2" destOrd="0" presId="urn:diagrams.loki3.com/BracketList"/>
    <dgm:cxn modelId="{E8A5B92D-0A5F-4936-B57F-2DA940A5F7B3}" type="presParOf" srcId="{308F86B7-D941-4219-B1EF-1DF0218329AF}" destId="{0ECD8488-674C-4C0C-9655-2C89CD3ACFBA}" srcOrd="3" destOrd="0" presId="urn:diagrams.loki3.com/BracketList"/>
    <dgm:cxn modelId="{EC0DD25D-421B-4A19-9E8C-F5D19A959F30}" type="presParOf" srcId="{60E112F2-CD0F-460D-921B-374A913F71ED}" destId="{6D7C8854-9976-4879-849A-A5B35E279A0D}" srcOrd="7" destOrd="0" presId="urn:diagrams.loki3.com/BracketList"/>
    <dgm:cxn modelId="{16B37368-2362-446B-9ED4-74F829691A58}" type="presParOf" srcId="{60E112F2-CD0F-460D-921B-374A913F71ED}" destId="{24457AD7-6E8B-451C-9C78-107477CEA4C7}" srcOrd="8" destOrd="0" presId="urn:diagrams.loki3.com/BracketList"/>
    <dgm:cxn modelId="{94F63B65-4835-4742-A7F3-CEFEE3C69428}" type="presParOf" srcId="{24457AD7-6E8B-451C-9C78-107477CEA4C7}" destId="{A3CD7AA6-38F4-4A44-AF0C-AA53CC2A4238}" srcOrd="0" destOrd="0" presId="urn:diagrams.loki3.com/BracketList"/>
    <dgm:cxn modelId="{7AE3C907-C433-4212-B432-91A7B7D27EDA}" type="presParOf" srcId="{24457AD7-6E8B-451C-9C78-107477CEA4C7}" destId="{A0BBA243-A395-4F9E-9DD5-840A3D69F33B}" srcOrd="1" destOrd="0" presId="urn:diagrams.loki3.com/BracketList"/>
    <dgm:cxn modelId="{67B66EDD-AD81-41C1-A392-FAD79207A355}" type="presParOf" srcId="{24457AD7-6E8B-451C-9C78-107477CEA4C7}" destId="{9650CA60-831C-4DAE-AD3E-09277EDC17F8}" srcOrd="2" destOrd="0" presId="urn:diagrams.loki3.com/BracketList"/>
    <dgm:cxn modelId="{08B47566-5B02-428B-839A-A97FE4C3A224}" type="presParOf" srcId="{24457AD7-6E8B-451C-9C78-107477CEA4C7}" destId="{66AAEBA6-B695-4691-8B00-49D1E4CA4B7B}" srcOrd="3" destOrd="0" presId="urn:diagrams.loki3.com/BracketList"/>
    <dgm:cxn modelId="{704CC8F5-B0BD-41F6-B66F-003DC75CEE03}" type="presParOf" srcId="{60E112F2-CD0F-460D-921B-374A913F71ED}" destId="{A5ED09AD-6A6C-4925-BEC7-2C2EBCB9A713}" srcOrd="9" destOrd="0" presId="urn:diagrams.loki3.com/BracketList"/>
    <dgm:cxn modelId="{E14DB053-47EC-4744-9D0A-A94FC85E888C}" type="presParOf" srcId="{60E112F2-CD0F-460D-921B-374A913F71ED}" destId="{79C6ACE2-EAD3-40F1-A40D-7C08DA6A36F9}" srcOrd="10" destOrd="0" presId="urn:diagrams.loki3.com/BracketList"/>
    <dgm:cxn modelId="{8AE7D867-E2D1-4138-8103-3511F0E0F89D}" type="presParOf" srcId="{79C6ACE2-EAD3-40F1-A40D-7C08DA6A36F9}" destId="{1165B149-41F8-4D08-BA1A-5857706E9CDE}" srcOrd="0" destOrd="0" presId="urn:diagrams.loki3.com/BracketList"/>
    <dgm:cxn modelId="{82857C7D-F75B-4E20-AF76-D083DA89C450}" type="presParOf" srcId="{79C6ACE2-EAD3-40F1-A40D-7C08DA6A36F9}" destId="{0A6E157B-C627-4B14-8B26-59B96448430A}" srcOrd="1" destOrd="0" presId="urn:diagrams.loki3.com/BracketList"/>
    <dgm:cxn modelId="{4F27FB02-7790-4307-AB60-5310FDCB0552}" type="presParOf" srcId="{79C6ACE2-EAD3-40F1-A40D-7C08DA6A36F9}" destId="{2D612181-86BE-42DF-B0C0-83C5CE48BEBE}" srcOrd="2" destOrd="0" presId="urn:diagrams.loki3.com/BracketList"/>
    <dgm:cxn modelId="{D33BEFF6-E2E3-468D-9E52-C5D9D28E5C85}" type="presParOf" srcId="{79C6ACE2-EAD3-40F1-A40D-7C08DA6A36F9}" destId="{B846999F-8B22-4EFB-AAE0-C9D0AFC0A833}" srcOrd="3" destOrd="0" presId="urn:diagrams.loki3.com/Bracke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985AF7C-53D6-44AD-87E4-4EA338F4D7FA}" type="doc">
      <dgm:prSet loTypeId="urn:microsoft.com/office/officeart/2018/5/layout/IconLeafLabel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C2A297BC-DA42-4860-A108-8EE79AEB2CA0}" type="parTrans" cxnId="{E589EB38-F68B-4092-A27C-965CB75DC6BC}">
      <dgm:prSet/>
      <dgm:spPr/>
      <dgm:t>
        <a:bodyPr/>
        <a:lstStyle/>
        <a:p>
          <a:endParaRPr lang="en-US"/>
        </a:p>
      </dgm:t>
    </dgm:pt>
    <dgm:pt modelId="{EBD060C5-95F5-4EE7-A21D-4D675CDEDCC3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es-LA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terrumpir, confrontar, apoyar, ¡pero solo iF apropiado!</a:t>
          </a:r>
          <a:endParaRPr lang="en-US"/>
        </a:p>
      </dgm:t>
    </dgm:pt>
    <dgm:pt modelId="{08F2C995-22F9-446E-8812-A0D5B508C4C6}" type="sibTrans" cxnId="{E589EB38-F68B-4092-A27C-965CB75DC6BC}">
      <dgm:prSet/>
      <dgm:spPr/>
      <dgm:t>
        <a:bodyPr/>
        <a:lstStyle/>
        <a:p>
          <a:endParaRPr lang="en-US"/>
        </a:p>
      </dgm:t>
    </dgm:pt>
    <dgm:pt modelId="{C06B86FE-9873-4154-8479-7797CFC38831}" type="parTrans" cxnId="{A58E23D7-2A13-4C95-9CD6-7F4547F3D6BE}">
      <dgm:prSet/>
      <dgm:spPr/>
      <dgm:t>
        <a:bodyPr/>
        <a:lstStyle/>
        <a:p>
          <a:endParaRPr lang="en-US"/>
        </a:p>
      </dgm:t>
    </dgm:pt>
    <dgm:pt modelId="{215514A5-DF66-4904-9406-77784F162B95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es-LA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Queremos saber si cree que el comportamiento de alguien es inapropiado o ilegal. </a:t>
          </a:r>
          <a:endParaRPr lang="en-US"/>
        </a:p>
      </dgm:t>
    </dgm:pt>
    <dgm:pt modelId="{B250ECC4-DD4B-44B9-9935-6E9734B98612}" type="sibTrans" cxnId="{A58E23D7-2A13-4C95-9CD6-7F4547F3D6BE}">
      <dgm:prSet/>
      <dgm:spPr/>
      <dgm:t>
        <a:bodyPr/>
        <a:lstStyle/>
        <a:p>
          <a:endParaRPr lang="en-US"/>
        </a:p>
      </dgm:t>
    </dgm:pt>
    <dgm:pt modelId="{56605AA0-B23C-41CB-A9E9-FB42C77D3F9B}" type="parTrans" cxnId="{2651840F-78BB-4F88-AAD9-9CDE7330C9AF}">
      <dgm:prSet/>
      <dgm:spPr/>
      <dgm:t>
        <a:bodyPr/>
        <a:lstStyle/>
        <a:p>
          <a:endParaRPr lang="en-US"/>
        </a:p>
      </dgm:t>
    </dgm:pt>
    <dgm:pt modelId="{22C75CE3-3B87-4E45-A239-769E3391166C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es-LA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das las quejas se tomarán en serio, se investigarán y se tomarán medidas si corresponde. </a:t>
          </a:r>
          <a:endParaRPr lang="en-US"/>
        </a:p>
      </dgm:t>
    </dgm:pt>
    <dgm:pt modelId="{873C7F80-16FF-4C2A-9AB6-7A5889C0339F}" type="sibTrans" cxnId="{2651840F-78BB-4F88-AAD9-9CDE7330C9AF}">
      <dgm:prSet/>
      <dgm:spPr/>
      <dgm:t>
        <a:bodyPr/>
        <a:lstStyle/>
        <a:p>
          <a:endParaRPr lang="en-US"/>
        </a:p>
      </dgm:t>
    </dgm:pt>
    <dgm:pt modelId="{F47EF451-94B4-4BD6-A5AE-ADAECA63667A}" type="parTrans" cxnId="{22C39219-B658-40C6-AEC2-047F68034897}">
      <dgm:prSet/>
      <dgm:spPr/>
      <dgm:t>
        <a:bodyPr/>
        <a:lstStyle/>
        <a:p>
          <a:endParaRPr lang="en-US"/>
        </a:p>
      </dgm:t>
    </dgm:pt>
    <dgm:pt modelId="{544412E3-BEF3-41AF-9D5A-7DA5FBAE64B4}">
      <dgm:prSet custT="1"/>
      <dgm:spPr>
        <a:noFill/>
        <a:ln>
          <a:noFill/>
        </a:ln>
      </dgm:spPr>
      <dgm:t>
        <a:bodyPr/>
        <a:lstStyle/>
        <a:p>
          <a:pPr>
            <a:defRPr cap="all"/>
          </a:pPr>
          <a:r>
            <a:rPr lang="es-LA" sz="1110" b="0" i="0" strike="noStrike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muníquese con su gerente, hora local, el equipo de cumplimiento de rpm o la línea directa</a:t>
          </a:r>
          <a:endParaRPr lang="en-US"/>
        </a:p>
      </dgm:t>
    </dgm:pt>
    <dgm:pt modelId="{32D20FFA-0D8A-4FAF-9CB1-AE232A3FCBE7}" type="sibTrans" cxnId="{22C39219-B658-40C6-AEC2-047F68034897}">
      <dgm:prSet/>
      <dgm:spPr/>
      <dgm:t>
        <a:bodyPr/>
        <a:lstStyle/>
        <a:p>
          <a:endParaRPr lang="en-US"/>
        </a:p>
      </dgm:t>
    </dgm:pt>
    <dgm:pt modelId="{F99DBA00-032E-4B6D-BCA8-3FF88387C013}" type="pres">
      <dgm:prSet presAssocID="{3985AF7C-53D6-44AD-87E4-4EA338F4D7FA}" presName="root" presStyleCnt="0">
        <dgm:presLayoutVars>
          <dgm:dir/>
          <dgm:resizeHandles val="exact"/>
        </dgm:presLayoutVars>
      </dgm:prSet>
      <dgm:spPr/>
    </dgm:pt>
    <dgm:pt modelId="{786B84CB-C00B-40AB-8D9F-DE78A427A091}" type="pres">
      <dgm:prSet presAssocID="{EBD060C5-95F5-4EE7-A21D-4D675CDEDCC3}" presName="compNode" presStyleCnt="0"/>
      <dgm:spPr/>
    </dgm:pt>
    <dgm:pt modelId="{073D0F38-1697-4DDF-87B5-31AB4FDDCA6E}" type="pres">
      <dgm:prSet presAssocID="{EBD060C5-95F5-4EE7-A21D-4D675CDEDCC3}" presName="iconBgRect" presStyleLbl="bgShp" presStyleIdx="0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972CB9A9-E8F4-48A6-863C-3857BF4A1898}" type="pres">
      <dgm:prSet presAssocID="{EBD060C5-95F5-4EE7-A21D-4D675CDEDCC3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o sign"/>
        </a:ext>
      </dgm:extLst>
    </dgm:pt>
    <dgm:pt modelId="{0F2B5B2A-8E93-4FB1-A7B8-4DBAF9E36D1F}" type="pres">
      <dgm:prSet presAssocID="{EBD060C5-95F5-4EE7-A21D-4D675CDEDCC3}" presName="spaceRect" presStyleCnt="0"/>
      <dgm:spPr/>
    </dgm:pt>
    <dgm:pt modelId="{6AA18965-2D4D-4724-835A-2A765ACE07BF}" type="pres">
      <dgm:prSet presAssocID="{EBD060C5-95F5-4EE7-A21D-4D675CDEDCC3}" presName="textRect" presStyleLbl="revTx" presStyleIdx="0" presStyleCnt="4">
        <dgm:presLayoutVars>
          <dgm:chMax val="1"/>
          <dgm:chPref val="1"/>
        </dgm:presLayoutVars>
      </dgm:prSet>
      <dgm:spPr/>
    </dgm:pt>
    <dgm:pt modelId="{8760EC41-2AED-4DF9-BBCD-2EB65F816AD5}" type="pres">
      <dgm:prSet presAssocID="{08F2C995-22F9-446E-8812-A0D5B508C4C6}" presName="sibTrans" presStyleCnt="0"/>
      <dgm:spPr/>
    </dgm:pt>
    <dgm:pt modelId="{3622DCD7-14D2-4476-A1D7-9FC0F2DF9AEC}" type="pres">
      <dgm:prSet presAssocID="{215514A5-DF66-4904-9406-77784F162B95}" presName="compNode" presStyleCnt="0"/>
      <dgm:spPr/>
    </dgm:pt>
    <dgm:pt modelId="{71CADC7A-C1B0-44C3-93BB-21CE4C51B4F2}" type="pres">
      <dgm:prSet presAssocID="{215514A5-DF66-4904-9406-77784F162B95}" presName="iconBgRect" presStyleLbl="bgShp" presStyleIdx="1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CE7A4B8A-9FB1-49BB-AD5F-E16F4D6B1202}" type="pres">
      <dgm:prSet presAssocID="{215514A5-DF66-4904-9406-77784F162B95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Irritant"/>
        </a:ext>
      </dgm:extLst>
    </dgm:pt>
    <dgm:pt modelId="{77223BB5-08AB-4699-B274-66F6273C5AEC}" type="pres">
      <dgm:prSet presAssocID="{215514A5-DF66-4904-9406-77784F162B95}" presName="spaceRect" presStyleCnt="0"/>
      <dgm:spPr/>
    </dgm:pt>
    <dgm:pt modelId="{6FF8B6D1-5618-4F35-9FB1-447D4C8D3EB4}" type="pres">
      <dgm:prSet presAssocID="{215514A5-DF66-4904-9406-77784F162B95}" presName="textRect" presStyleLbl="revTx" presStyleIdx="1" presStyleCnt="4">
        <dgm:presLayoutVars>
          <dgm:chMax val="1"/>
          <dgm:chPref val="1"/>
        </dgm:presLayoutVars>
      </dgm:prSet>
      <dgm:spPr/>
    </dgm:pt>
    <dgm:pt modelId="{EAB3F13C-5F23-491D-9F8A-D25748D3216F}" type="pres">
      <dgm:prSet presAssocID="{B250ECC4-DD4B-44B9-9935-6E9734B98612}" presName="sibTrans" presStyleCnt="0"/>
      <dgm:spPr/>
    </dgm:pt>
    <dgm:pt modelId="{0F7AB7E7-3384-4E1C-A41F-020CE1D72EA1}" type="pres">
      <dgm:prSet presAssocID="{22C75CE3-3B87-4E45-A239-769E3391166C}" presName="compNode" presStyleCnt="0"/>
      <dgm:spPr/>
    </dgm:pt>
    <dgm:pt modelId="{1FE7E204-545F-440C-8C97-4A51872D9726}" type="pres">
      <dgm:prSet presAssocID="{22C75CE3-3B87-4E45-A239-769E3391166C}" presName="iconBgRect" presStyleLbl="bgShp" presStyleIdx="2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85FF4209-844A-4978-977D-D9B2596F75E9}" type="pres">
      <dgm:prSet presAssocID="{22C75CE3-3B87-4E45-A239-769E3391166C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Judge"/>
        </a:ext>
      </dgm:extLst>
    </dgm:pt>
    <dgm:pt modelId="{19232F93-B28C-4008-9D2C-5CC2B171F6BF}" type="pres">
      <dgm:prSet presAssocID="{22C75CE3-3B87-4E45-A239-769E3391166C}" presName="spaceRect" presStyleCnt="0"/>
      <dgm:spPr/>
    </dgm:pt>
    <dgm:pt modelId="{30BC5A38-EAF4-4B1E-9660-0ECB3613D90C}" type="pres">
      <dgm:prSet presAssocID="{22C75CE3-3B87-4E45-A239-769E3391166C}" presName="textRect" presStyleLbl="revTx" presStyleIdx="2" presStyleCnt="4">
        <dgm:presLayoutVars>
          <dgm:chMax val="1"/>
          <dgm:chPref val="1"/>
        </dgm:presLayoutVars>
      </dgm:prSet>
      <dgm:spPr/>
    </dgm:pt>
    <dgm:pt modelId="{E20E414B-C7F7-4B94-A0E0-F90A48E33FBB}" type="pres">
      <dgm:prSet presAssocID="{873C7F80-16FF-4C2A-9AB6-7A5889C0339F}" presName="sibTrans" presStyleCnt="0"/>
      <dgm:spPr/>
    </dgm:pt>
    <dgm:pt modelId="{4B26835B-4D7D-49AA-8750-6FD0C36A7C28}" type="pres">
      <dgm:prSet presAssocID="{544412E3-BEF3-41AF-9D5A-7DA5FBAE64B4}" presName="compNode" presStyleCnt="0"/>
      <dgm:spPr/>
    </dgm:pt>
    <dgm:pt modelId="{10143779-9C38-42BF-84D1-1850484485B4}" type="pres">
      <dgm:prSet presAssocID="{544412E3-BEF3-41AF-9D5A-7DA5FBAE64B4}" presName="iconBgRect" presStyleLbl="bgShp" presStyleIdx="3" presStyleCnt="4"/>
      <dgm:spPr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537D5008-931D-4678-B3D6-809AC5E131FA}" type="pres">
      <dgm:prSet presAssocID="{544412E3-BEF3-41AF-9D5A-7DA5FBAE64B4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 Network"/>
        </a:ext>
      </dgm:extLst>
    </dgm:pt>
    <dgm:pt modelId="{3D256092-D4EE-4D98-9242-1FDD6ED656DA}" type="pres">
      <dgm:prSet presAssocID="{544412E3-BEF3-41AF-9D5A-7DA5FBAE64B4}" presName="spaceRect" presStyleCnt="0"/>
      <dgm:spPr/>
    </dgm:pt>
    <dgm:pt modelId="{6CB0CDB9-D0AE-470D-ABFC-DED3FE7A9B30}" type="pres">
      <dgm:prSet presAssocID="{544412E3-BEF3-41AF-9D5A-7DA5FBAE64B4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513C5103-629C-4BCA-A82C-A6607BE20C36}" type="presOf" srcId="{EBD060C5-95F5-4EE7-A21D-4D675CDEDCC3}" destId="{6AA18965-2D4D-4724-835A-2A765ACE07BF}" srcOrd="0" destOrd="0" presId="urn:microsoft.com/office/officeart/2018/5/layout/IconLeafLabelList"/>
    <dgm:cxn modelId="{2651840F-78BB-4F88-AAD9-9CDE7330C9AF}" srcId="{3985AF7C-53D6-44AD-87E4-4EA338F4D7FA}" destId="{22C75CE3-3B87-4E45-A239-769E3391166C}" srcOrd="2" destOrd="0" parTransId="{56605AA0-B23C-41CB-A9E9-FB42C77D3F9B}" sibTransId="{873C7F80-16FF-4C2A-9AB6-7A5889C0339F}"/>
    <dgm:cxn modelId="{22C39219-B658-40C6-AEC2-047F68034897}" srcId="{3985AF7C-53D6-44AD-87E4-4EA338F4D7FA}" destId="{544412E3-BEF3-41AF-9D5A-7DA5FBAE64B4}" srcOrd="3" destOrd="0" parTransId="{F47EF451-94B4-4BD6-A5AE-ADAECA63667A}" sibTransId="{32D20FFA-0D8A-4FAF-9CB1-AE232A3FCBE7}"/>
    <dgm:cxn modelId="{86151325-7734-4F9F-8941-93434FEF7869}" type="presOf" srcId="{544412E3-BEF3-41AF-9D5A-7DA5FBAE64B4}" destId="{6CB0CDB9-D0AE-470D-ABFC-DED3FE7A9B30}" srcOrd="0" destOrd="0" presId="urn:microsoft.com/office/officeart/2018/5/layout/IconLeafLabelList"/>
    <dgm:cxn modelId="{E589EB38-F68B-4092-A27C-965CB75DC6BC}" srcId="{3985AF7C-53D6-44AD-87E4-4EA338F4D7FA}" destId="{EBD060C5-95F5-4EE7-A21D-4D675CDEDCC3}" srcOrd="0" destOrd="0" parTransId="{C2A297BC-DA42-4860-A108-8EE79AEB2CA0}" sibTransId="{08F2C995-22F9-446E-8812-A0D5B508C4C6}"/>
    <dgm:cxn modelId="{A58E23D7-2A13-4C95-9CD6-7F4547F3D6BE}" srcId="{3985AF7C-53D6-44AD-87E4-4EA338F4D7FA}" destId="{215514A5-DF66-4904-9406-77784F162B95}" srcOrd="1" destOrd="0" parTransId="{C06B86FE-9873-4154-8479-7797CFC38831}" sibTransId="{B250ECC4-DD4B-44B9-9935-6E9734B98612}"/>
    <dgm:cxn modelId="{2652DFE1-8C08-414E-B4F9-8758446166C3}" type="presOf" srcId="{215514A5-DF66-4904-9406-77784F162B95}" destId="{6FF8B6D1-5618-4F35-9FB1-447D4C8D3EB4}" srcOrd="0" destOrd="0" presId="urn:microsoft.com/office/officeart/2018/5/layout/IconLeafLabelList"/>
    <dgm:cxn modelId="{B2CDCEF7-8F4F-4590-AA42-F5A89516E0C8}" type="presOf" srcId="{3985AF7C-53D6-44AD-87E4-4EA338F4D7FA}" destId="{F99DBA00-032E-4B6D-BCA8-3FF88387C013}" srcOrd="0" destOrd="0" presId="urn:microsoft.com/office/officeart/2018/5/layout/IconLeafLabelList"/>
    <dgm:cxn modelId="{010549F8-C937-4063-BA53-71B46C4F5D2F}" type="presOf" srcId="{22C75CE3-3B87-4E45-A239-769E3391166C}" destId="{30BC5A38-EAF4-4B1E-9660-0ECB3613D90C}" srcOrd="0" destOrd="0" presId="urn:microsoft.com/office/officeart/2018/5/layout/IconLeafLabelList"/>
    <dgm:cxn modelId="{FC9694FB-FE3A-4140-90E9-C3572E602C11}" type="presParOf" srcId="{F99DBA00-032E-4B6D-BCA8-3FF88387C013}" destId="{786B84CB-C00B-40AB-8D9F-DE78A427A091}" srcOrd="0" destOrd="0" presId="urn:microsoft.com/office/officeart/2018/5/layout/IconLeafLabelList"/>
    <dgm:cxn modelId="{C6C5374C-2DCE-4278-BBB1-CADBD6BC1912}" type="presParOf" srcId="{786B84CB-C00B-40AB-8D9F-DE78A427A091}" destId="{073D0F38-1697-4DDF-87B5-31AB4FDDCA6E}" srcOrd="0" destOrd="0" presId="urn:microsoft.com/office/officeart/2018/5/layout/IconLeafLabelList"/>
    <dgm:cxn modelId="{A2DDF8FF-7075-4E47-8B61-04E473ED00CB}" type="presParOf" srcId="{786B84CB-C00B-40AB-8D9F-DE78A427A091}" destId="{972CB9A9-E8F4-48A6-863C-3857BF4A1898}" srcOrd="1" destOrd="0" presId="urn:microsoft.com/office/officeart/2018/5/layout/IconLeafLabelList"/>
    <dgm:cxn modelId="{2C999A02-C975-477F-832F-A1B95A35BC0A}" type="presParOf" srcId="{786B84CB-C00B-40AB-8D9F-DE78A427A091}" destId="{0F2B5B2A-8E93-4FB1-A7B8-4DBAF9E36D1F}" srcOrd="2" destOrd="0" presId="urn:microsoft.com/office/officeart/2018/5/layout/IconLeafLabelList"/>
    <dgm:cxn modelId="{3D0A0DF7-2A32-4B0C-85B1-01BBCF569E07}" type="presParOf" srcId="{786B84CB-C00B-40AB-8D9F-DE78A427A091}" destId="{6AA18965-2D4D-4724-835A-2A765ACE07BF}" srcOrd="3" destOrd="0" presId="urn:microsoft.com/office/officeart/2018/5/layout/IconLeafLabelList"/>
    <dgm:cxn modelId="{BE7E5683-D027-40A1-824B-89BC1A297B53}" type="presParOf" srcId="{F99DBA00-032E-4B6D-BCA8-3FF88387C013}" destId="{8760EC41-2AED-4DF9-BBCD-2EB65F816AD5}" srcOrd="1" destOrd="0" presId="urn:microsoft.com/office/officeart/2018/5/layout/IconLeafLabelList"/>
    <dgm:cxn modelId="{1C6A9FFA-6B4B-43DE-BCC2-DDF26ED61B44}" type="presParOf" srcId="{F99DBA00-032E-4B6D-BCA8-3FF88387C013}" destId="{3622DCD7-14D2-4476-A1D7-9FC0F2DF9AEC}" srcOrd="2" destOrd="0" presId="urn:microsoft.com/office/officeart/2018/5/layout/IconLeafLabelList"/>
    <dgm:cxn modelId="{F450AC5E-08DA-49E9-B20E-0B17D0DCD754}" type="presParOf" srcId="{3622DCD7-14D2-4476-A1D7-9FC0F2DF9AEC}" destId="{71CADC7A-C1B0-44C3-93BB-21CE4C51B4F2}" srcOrd="0" destOrd="0" presId="urn:microsoft.com/office/officeart/2018/5/layout/IconLeafLabelList"/>
    <dgm:cxn modelId="{436211A8-EA1B-4C26-8928-E3D4BC53D477}" type="presParOf" srcId="{3622DCD7-14D2-4476-A1D7-9FC0F2DF9AEC}" destId="{CE7A4B8A-9FB1-49BB-AD5F-E16F4D6B1202}" srcOrd="1" destOrd="0" presId="urn:microsoft.com/office/officeart/2018/5/layout/IconLeafLabelList"/>
    <dgm:cxn modelId="{42244EFE-43B0-4DD5-AF0B-2D5900EC951A}" type="presParOf" srcId="{3622DCD7-14D2-4476-A1D7-9FC0F2DF9AEC}" destId="{77223BB5-08AB-4699-B274-66F6273C5AEC}" srcOrd="2" destOrd="0" presId="urn:microsoft.com/office/officeart/2018/5/layout/IconLeafLabelList"/>
    <dgm:cxn modelId="{AE5F7A40-AF54-4FE2-A0CE-724C0DDF3074}" type="presParOf" srcId="{3622DCD7-14D2-4476-A1D7-9FC0F2DF9AEC}" destId="{6FF8B6D1-5618-4F35-9FB1-447D4C8D3EB4}" srcOrd="3" destOrd="0" presId="urn:microsoft.com/office/officeart/2018/5/layout/IconLeafLabelList"/>
    <dgm:cxn modelId="{25A5FB8B-F0DA-426D-AD2F-98F82557D91A}" type="presParOf" srcId="{F99DBA00-032E-4B6D-BCA8-3FF88387C013}" destId="{EAB3F13C-5F23-491D-9F8A-D25748D3216F}" srcOrd="3" destOrd="0" presId="urn:microsoft.com/office/officeart/2018/5/layout/IconLeafLabelList"/>
    <dgm:cxn modelId="{2DE9C65F-F91F-4A95-BDF8-21447E21F2FD}" type="presParOf" srcId="{F99DBA00-032E-4B6D-BCA8-3FF88387C013}" destId="{0F7AB7E7-3384-4E1C-A41F-020CE1D72EA1}" srcOrd="4" destOrd="0" presId="urn:microsoft.com/office/officeart/2018/5/layout/IconLeafLabelList"/>
    <dgm:cxn modelId="{54FAA7E2-9E73-423F-AF9B-567FB8A69EFC}" type="presParOf" srcId="{0F7AB7E7-3384-4E1C-A41F-020CE1D72EA1}" destId="{1FE7E204-545F-440C-8C97-4A51872D9726}" srcOrd="0" destOrd="0" presId="urn:microsoft.com/office/officeart/2018/5/layout/IconLeafLabelList"/>
    <dgm:cxn modelId="{A5F2569B-C045-4051-9A82-F689B43E306C}" type="presParOf" srcId="{0F7AB7E7-3384-4E1C-A41F-020CE1D72EA1}" destId="{85FF4209-844A-4978-977D-D9B2596F75E9}" srcOrd="1" destOrd="0" presId="urn:microsoft.com/office/officeart/2018/5/layout/IconLeafLabelList"/>
    <dgm:cxn modelId="{0B0C482A-E289-4AF5-AA7F-BB04B25F3700}" type="presParOf" srcId="{0F7AB7E7-3384-4E1C-A41F-020CE1D72EA1}" destId="{19232F93-B28C-4008-9D2C-5CC2B171F6BF}" srcOrd="2" destOrd="0" presId="urn:microsoft.com/office/officeart/2018/5/layout/IconLeafLabelList"/>
    <dgm:cxn modelId="{DCEBE062-31A0-4414-9037-3B5F1C548599}" type="presParOf" srcId="{0F7AB7E7-3384-4E1C-A41F-020CE1D72EA1}" destId="{30BC5A38-EAF4-4B1E-9660-0ECB3613D90C}" srcOrd="3" destOrd="0" presId="urn:microsoft.com/office/officeart/2018/5/layout/IconLeafLabelList"/>
    <dgm:cxn modelId="{6FEEBA3E-1B69-44CC-8C97-495A8B18C291}" type="presParOf" srcId="{F99DBA00-032E-4B6D-BCA8-3FF88387C013}" destId="{E20E414B-C7F7-4B94-A0E0-F90A48E33FBB}" srcOrd="5" destOrd="0" presId="urn:microsoft.com/office/officeart/2018/5/layout/IconLeafLabelList"/>
    <dgm:cxn modelId="{AA78E0AB-CEC1-48BD-9F6E-7FAA451ADFD9}" type="presParOf" srcId="{F99DBA00-032E-4B6D-BCA8-3FF88387C013}" destId="{4B26835B-4D7D-49AA-8750-6FD0C36A7C28}" srcOrd="6" destOrd="0" presId="urn:microsoft.com/office/officeart/2018/5/layout/IconLeafLabelList"/>
    <dgm:cxn modelId="{644F45D0-CE49-4D99-AC53-52F52125D8E6}" type="presParOf" srcId="{4B26835B-4D7D-49AA-8750-6FD0C36A7C28}" destId="{10143779-9C38-42BF-84D1-1850484485B4}" srcOrd="0" destOrd="0" presId="urn:microsoft.com/office/officeart/2018/5/layout/IconLeafLabelList"/>
    <dgm:cxn modelId="{44526F31-666E-462E-BBE7-D7999551D10C}" type="presParOf" srcId="{4B26835B-4D7D-49AA-8750-6FD0C36A7C28}" destId="{537D5008-931D-4678-B3D6-809AC5E131FA}" srcOrd="1" destOrd="0" presId="urn:microsoft.com/office/officeart/2018/5/layout/IconLeafLabelList"/>
    <dgm:cxn modelId="{FA6FBEE1-5193-4ACD-AAE5-13F4A96CB0F0}" type="presParOf" srcId="{4B26835B-4D7D-49AA-8750-6FD0C36A7C28}" destId="{3D256092-D4EE-4D98-9242-1FDD6ED656DA}" srcOrd="2" destOrd="0" presId="urn:microsoft.com/office/officeart/2018/5/layout/IconLeafLabelList"/>
    <dgm:cxn modelId="{B57EFC09-F4C3-4772-8DAD-09A79F926EAA}" type="presParOf" srcId="{4B26835B-4D7D-49AA-8750-6FD0C36A7C28}" destId="{6CB0CDB9-D0AE-470D-ABFC-DED3FE7A9B30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847EA9A9-2A7E-4FE6-BE29-8DF151ECBC7E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397E0D1-58FC-466E-A76A-0F9A90D32313}" type="parTrans" cxnId="{D09CC8A9-46E9-47A1-BB53-4452D9271091}">
      <dgm:prSet/>
      <dgm:spPr/>
      <dgm:t>
        <a:bodyPr/>
        <a:lstStyle/>
        <a:p>
          <a:endParaRPr lang="en-US"/>
        </a:p>
      </dgm:t>
    </dgm:pt>
    <dgm:pt modelId="{79707194-1D02-4749-851A-78251A8D6A8E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Despido</a:t>
          </a:r>
          <a:endParaRPr lang="en-US"/>
        </a:p>
      </dgm:t>
    </dgm:pt>
    <dgm:pt modelId="{CE8F1689-E460-49B6-A0B4-2F42C7441D1E}" type="sibTrans" cxnId="{D09CC8A9-46E9-47A1-BB53-4452D9271091}">
      <dgm:prSet/>
      <dgm:spPr/>
      <dgm:t>
        <a:bodyPr/>
        <a:lstStyle/>
        <a:p>
          <a:endParaRPr lang="en-US"/>
        </a:p>
      </dgm:t>
    </dgm:pt>
    <dgm:pt modelId="{AC4E4FE5-E6E9-4735-AABB-0C6819A38BD3}" type="parTrans" cxnId="{4A976ED4-AF6F-4F67-A1E0-E71395EFB4BC}">
      <dgm:prSet/>
      <dgm:spPr/>
      <dgm:t>
        <a:bodyPr/>
        <a:lstStyle/>
        <a:p>
          <a:endParaRPr lang="en-US"/>
        </a:p>
      </dgm:t>
    </dgm:pt>
    <dgm:pt modelId="{75B6AE6A-9B0F-4ADC-B232-83EB04025669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Descenso de categoría</a:t>
          </a:r>
          <a:endParaRPr lang="en-US"/>
        </a:p>
      </dgm:t>
    </dgm:pt>
    <dgm:pt modelId="{55B0ED60-47A9-4C9D-BED3-2A9BE70A9BE5}" type="sibTrans" cxnId="{4A976ED4-AF6F-4F67-A1E0-E71395EFB4BC}">
      <dgm:prSet/>
      <dgm:spPr/>
      <dgm:t>
        <a:bodyPr/>
        <a:lstStyle/>
        <a:p>
          <a:endParaRPr lang="en-US"/>
        </a:p>
      </dgm:t>
    </dgm:pt>
    <dgm:pt modelId="{4F78A490-1C23-4BBF-8016-997EFAAE478F}" type="parTrans" cxnId="{29285D23-F79F-423B-845E-96885EC89782}">
      <dgm:prSet/>
      <dgm:spPr/>
      <dgm:t>
        <a:bodyPr/>
        <a:lstStyle/>
        <a:p>
          <a:endParaRPr lang="en-US"/>
        </a:p>
      </dgm:t>
    </dgm:pt>
    <dgm:pt modelId="{0C3E5329-EB5E-4889-9701-0849A8CD9D82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nsferencia</a:t>
          </a:r>
          <a:endParaRPr lang="en-US"/>
        </a:p>
      </dgm:t>
    </dgm:pt>
    <dgm:pt modelId="{1E1AEB77-E215-409E-B983-A154334C1190}" type="sibTrans" cxnId="{29285D23-F79F-423B-845E-96885EC89782}">
      <dgm:prSet/>
      <dgm:spPr/>
      <dgm:t>
        <a:bodyPr/>
        <a:lstStyle/>
        <a:p>
          <a:endParaRPr lang="en-US"/>
        </a:p>
      </dgm:t>
    </dgm:pt>
    <dgm:pt modelId="{ADCB2420-3E8D-4D10-815F-BFB534DBDEEC}" type="parTrans" cxnId="{E77EBA1B-5581-4D3B-9B51-4D013AD71494}">
      <dgm:prSet/>
      <dgm:spPr/>
      <dgm:t>
        <a:bodyPr/>
        <a:lstStyle/>
        <a:p>
          <a:endParaRPr lang="en-US"/>
        </a:p>
      </dgm:t>
    </dgm:pt>
    <dgm:pt modelId="{49DA00EC-20E3-4959-92DB-5FE0DB4E1078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Asignaciones o cronograma de trabajo menos favorables</a:t>
          </a:r>
          <a:endParaRPr lang="en-US"/>
        </a:p>
      </dgm:t>
    </dgm:pt>
    <dgm:pt modelId="{1407D1F4-DC74-4D0C-B033-11CE032EE418}" type="sibTrans" cxnId="{E77EBA1B-5581-4D3B-9B51-4D013AD71494}">
      <dgm:prSet/>
      <dgm:spPr/>
      <dgm:t>
        <a:bodyPr/>
        <a:lstStyle/>
        <a:p>
          <a:endParaRPr lang="en-US"/>
        </a:p>
      </dgm:t>
    </dgm:pt>
    <dgm:pt modelId="{5ADD28B4-A80F-4093-AC94-16D6D563B90B}" type="parTrans" cxnId="{5F3EAE2F-CA10-430A-BC7E-7258531660C4}">
      <dgm:prSet/>
      <dgm:spPr/>
      <dgm:t>
        <a:bodyPr/>
        <a:lstStyle/>
        <a:p>
          <a:endParaRPr lang="en-US"/>
        </a:p>
      </dgm:t>
    </dgm:pt>
    <dgm:pt modelId="{1EB4BC62-DA52-4EFC-9CA8-418C08D2348D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Filtración de archivos de personal para menospreciar o desacreditar a una víctima o testigo de discriminación</a:t>
          </a:r>
          <a:endParaRPr lang="en-US"/>
        </a:p>
      </dgm:t>
    </dgm:pt>
    <dgm:pt modelId="{C9EFA232-B22D-4D18-BF81-0244D2085864}" type="sibTrans" cxnId="{5F3EAE2F-CA10-430A-BC7E-7258531660C4}">
      <dgm:prSet/>
      <dgm:spPr/>
      <dgm:t>
        <a:bodyPr/>
        <a:lstStyle/>
        <a:p>
          <a:endParaRPr lang="en-US"/>
        </a:p>
      </dgm:t>
    </dgm:pt>
    <dgm:pt modelId="{2BC36E68-80C0-47FE-9E60-1D6E80AC1868}" type="parTrans" cxnId="{49F54472-36C4-425F-8C9B-C950C9F6086B}">
      <dgm:prSet/>
      <dgm:spPr/>
      <dgm:t>
        <a:bodyPr/>
        <a:lstStyle/>
        <a:p>
          <a:endParaRPr lang="en-US"/>
        </a:p>
      </dgm:t>
    </dgm:pt>
    <dgm:pt modelId="{231A5E3E-BEAC-4643-AEC0-494E55F94A3B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er rechazado u ostracido por sus compañeros de trabajo</a:t>
          </a:r>
          <a:endParaRPr lang="en-US"/>
        </a:p>
      </dgm:t>
    </dgm:pt>
    <dgm:pt modelId="{8F061D4F-67C0-462D-98B5-6197DF537B08}" type="sibTrans" cxnId="{49F54472-36C4-425F-8C9B-C950C9F6086B}">
      <dgm:prSet/>
      <dgm:spPr/>
      <dgm:t>
        <a:bodyPr/>
        <a:lstStyle/>
        <a:p>
          <a:endParaRPr lang="en-US"/>
        </a:p>
      </dgm:t>
    </dgm:pt>
    <dgm:pt modelId="{8CE7926D-684E-4318-8AD1-74B82DCD2295}" type="parTrans" cxnId="{70664678-7D95-4040-BAA2-65732A9AA565}">
      <dgm:prSet/>
      <dgm:spPr/>
      <dgm:t>
        <a:bodyPr/>
        <a:lstStyle/>
        <a:p>
          <a:endParaRPr lang="en-US"/>
        </a:p>
      </dgm:t>
    </dgm:pt>
    <dgm:pt modelId="{66759DA8-7923-4702-8294-94150FFE7905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6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er saboteado por compañeros de trabajo</a:t>
          </a:r>
          <a:endParaRPr lang="en-US"/>
        </a:p>
      </dgm:t>
    </dgm:pt>
    <dgm:pt modelId="{94499F2B-AD42-41F6-B221-73712FCD1BC6}" type="sibTrans" cxnId="{70664678-7D95-4040-BAA2-65732A9AA565}">
      <dgm:prSet/>
      <dgm:spPr/>
      <dgm:t>
        <a:bodyPr/>
        <a:lstStyle/>
        <a:p>
          <a:endParaRPr lang="en-US"/>
        </a:p>
      </dgm:t>
    </dgm:pt>
    <dgm:pt modelId="{41503E0F-AB6D-4568-9453-ABA59B82A4CC}" type="pres">
      <dgm:prSet presAssocID="{847EA9A9-2A7E-4FE6-BE29-8DF151ECBC7E}" presName="root" presStyleCnt="0">
        <dgm:presLayoutVars>
          <dgm:dir/>
          <dgm:resizeHandles val="exact"/>
        </dgm:presLayoutVars>
      </dgm:prSet>
      <dgm:spPr/>
    </dgm:pt>
    <dgm:pt modelId="{818C0BB3-442E-42EB-B956-37DA187B65FF}" type="pres">
      <dgm:prSet presAssocID="{79707194-1D02-4749-851A-78251A8D6A8E}" presName="compNode" presStyleCnt="0"/>
      <dgm:spPr/>
    </dgm:pt>
    <dgm:pt modelId="{52A512D9-B40D-47F9-A846-C726F51B1EC6}" type="pres">
      <dgm:prSet presAssocID="{79707194-1D02-4749-851A-78251A8D6A8E}" presName="bgRect" presStyleLbl="bgShp" presStyleIdx="0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CA508474-D63E-4A16-9167-594C791466C4}" type="pres">
      <dgm:prSet presAssocID="{79707194-1D02-4749-851A-78251A8D6A8E}" presName="iconRect" presStyleLbl="node1" presStyleIdx="0" presStyleCnt="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avel"/>
        </a:ext>
      </dgm:extLst>
    </dgm:pt>
    <dgm:pt modelId="{58DC08D3-6ECA-4AC7-A6C4-0D833EF8AF69}" type="pres">
      <dgm:prSet presAssocID="{79707194-1D02-4749-851A-78251A8D6A8E}" presName="spaceRect" presStyleCnt="0"/>
      <dgm:spPr/>
    </dgm:pt>
    <dgm:pt modelId="{DCAD54F1-4A2A-422E-A86B-590182CAB8AA}" type="pres">
      <dgm:prSet presAssocID="{79707194-1D02-4749-851A-78251A8D6A8E}" presName="parTx" presStyleLbl="revTx" presStyleIdx="0" presStyleCnt="7">
        <dgm:presLayoutVars>
          <dgm:chMax val="0"/>
          <dgm:chPref val="0"/>
        </dgm:presLayoutVars>
      </dgm:prSet>
      <dgm:spPr/>
    </dgm:pt>
    <dgm:pt modelId="{446014D1-B799-4496-B82A-4DBBC3131499}" type="pres">
      <dgm:prSet presAssocID="{CE8F1689-E460-49B6-A0B4-2F42C7441D1E}" presName="sibTrans" presStyleCnt="0"/>
      <dgm:spPr/>
    </dgm:pt>
    <dgm:pt modelId="{4FFB4288-2951-440D-A775-60785C73E6AA}" type="pres">
      <dgm:prSet presAssocID="{75B6AE6A-9B0F-4ADC-B232-83EB04025669}" presName="compNode" presStyleCnt="0"/>
      <dgm:spPr/>
    </dgm:pt>
    <dgm:pt modelId="{02EE004D-26FC-47D1-8269-69D20901CA23}" type="pres">
      <dgm:prSet presAssocID="{75B6AE6A-9B0F-4ADC-B232-83EB04025669}" presName="bgRect" presStyleLbl="bgShp" presStyleIdx="1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9E412361-0DD8-455E-ABDC-E515BF65EB9D}" type="pres">
      <dgm:prSet presAssocID="{75B6AE6A-9B0F-4ADC-B232-83EB04025669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lay"/>
        </a:ext>
      </dgm:extLst>
    </dgm:pt>
    <dgm:pt modelId="{C21354FB-AD36-42B0-93BE-5F83ED150F04}" type="pres">
      <dgm:prSet presAssocID="{75B6AE6A-9B0F-4ADC-B232-83EB04025669}" presName="spaceRect" presStyleCnt="0"/>
      <dgm:spPr/>
    </dgm:pt>
    <dgm:pt modelId="{A97B8EB0-C577-4054-84C1-818EA38BF5B9}" type="pres">
      <dgm:prSet presAssocID="{75B6AE6A-9B0F-4ADC-B232-83EB04025669}" presName="parTx" presStyleLbl="revTx" presStyleIdx="1" presStyleCnt="7">
        <dgm:presLayoutVars>
          <dgm:chMax val="0"/>
          <dgm:chPref val="0"/>
        </dgm:presLayoutVars>
      </dgm:prSet>
      <dgm:spPr/>
    </dgm:pt>
    <dgm:pt modelId="{9D06C7C4-FB12-4400-9E9F-3C637653350D}" type="pres">
      <dgm:prSet presAssocID="{55B0ED60-47A9-4C9D-BED3-2A9BE70A9BE5}" presName="sibTrans" presStyleCnt="0"/>
      <dgm:spPr/>
    </dgm:pt>
    <dgm:pt modelId="{40ADC1F3-7B7B-415D-B1A9-2DD20BC18B22}" type="pres">
      <dgm:prSet presAssocID="{0C3E5329-EB5E-4889-9701-0849A8CD9D82}" presName="compNode" presStyleCnt="0"/>
      <dgm:spPr/>
    </dgm:pt>
    <dgm:pt modelId="{3951A61D-F069-4616-989D-20A828000FE1}" type="pres">
      <dgm:prSet presAssocID="{0C3E5329-EB5E-4889-9701-0849A8CD9D82}" presName="bgRect" presStyleLbl="bgShp" presStyleIdx="2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B2C44930-8854-438D-90B1-22C51B82B008}" type="pres">
      <dgm:prSet presAssocID="{0C3E5329-EB5E-4889-9701-0849A8CD9D82}" presName="iconRect" presStyleLbl="node1" presStyleIdx="2" presStyleCnt="7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ransfer"/>
        </a:ext>
      </dgm:extLst>
    </dgm:pt>
    <dgm:pt modelId="{BFF2EDA0-9815-4D23-9634-A8908693BE85}" type="pres">
      <dgm:prSet presAssocID="{0C3E5329-EB5E-4889-9701-0849A8CD9D82}" presName="spaceRect" presStyleCnt="0"/>
      <dgm:spPr/>
    </dgm:pt>
    <dgm:pt modelId="{635091B8-29C0-4ABE-8DEC-334A61052E0C}" type="pres">
      <dgm:prSet presAssocID="{0C3E5329-EB5E-4889-9701-0849A8CD9D82}" presName="parTx" presStyleLbl="revTx" presStyleIdx="2" presStyleCnt="7">
        <dgm:presLayoutVars>
          <dgm:chMax val="0"/>
          <dgm:chPref val="0"/>
        </dgm:presLayoutVars>
      </dgm:prSet>
      <dgm:spPr/>
    </dgm:pt>
    <dgm:pt modelId="{935AB0F7-C73A-4D15-9A92-396AE39B2FBF}" type="pres">
      <dgm:prSet presAssocID="{1E1AEB77-E215-409E-B983-A154334C1190}" presName="sibTrans" presStyleCnt="0"/>
      <dgm:spPr/>
    </dgm:pt>
    <dgm:pt modelId="{5668A616-B452-4CEF-8524-26589C63C0B2}" type="pres">
      <dgm:prSet presAssocID="{49DA00EC-20E3-4959-92DB-5FE0DB4E1078}" presName="compNode" presStyleCnt="0"/>
      <dgm:spPr/>
    </dgm:pt>
    <dgm:pt modelId="{2B9FBFC2-2DA2-4537-8E9D-0102188BB8DA}" type="pres">
      <dgm:prSet presAssocID="{49DA00EC-20E3-4959-92DB-5FE0DB4E1078}" presName="bgRect" presStyleLbl="bgShp" presStyleIdx="3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098824A6-FCA5-4A1B-9C93-02EBF6CE40C2}" type="pres">
      <dgm:prSet presAssocID="{49DA00EC-20E3-4959-92DB-5FE0DB4E1078}" presName="iconRect" presStyleLbl="node1" presStyleIdx="3" presStyleCnt="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watch"/>
        </a:ext>
      </dgm:extLst>
    </dgm:pt>
    <dgm:pt modelId="{73A4532D-A95C-4D67-8544-DF90B65AF08C}" type="pres">
      <dgm:prSet presAssocID="{49DA00EC-20E3-4959-92DB-5FE0DB4E1078}" presName="spaceRect" presStyleCnt="0"/>
      <dgm:spPr/>
    </dgm:pt>
    <dgm:pt modelId="{CDB89971-F98F-4B5E-A3E6-D8B427874E72}" type="pres">
      <dgm:prSet presAssocID="{49DA00EC-20E3-4959-92DB-5FE0DB4E1078}" presName="parTx" presStyleLbl="revTx" presStyleIdx="3" presStyleCnt="7">
        <dgm:presLayoutVars>
          <dgm:chMax val="0"/>
          <dgm:chPref val="0"/>
        </dgm:presLayoutVars>
      </dgm:prSet>
      <dgm:spPr/>
    </dgm:pt>
    <dgm:pt modelId="{C8798EC8-CDEE-4D35-BD8F-FAC6BDEAA192}" type="pres">
      <dgm:prSet presAssocID="{1407D1F4-DC74-4D0C-B033-11CE032EE418}" presName="sibTrans" presStyleCnt="0"/>
      <dgm:spPr/>
    </dgm:pt>
    <dgm:pt modelId="{4729E7F1-7AFB-47B7-90AD-2020F44037FA}" type="pres">
      <dgm:prSet presAssocID="{1EB4BC62-DA52-4EFC-9CA8-418C08D2348D}" presName="compNode" presStyleCnt="0"/>
      <dgm:spPr/>
    </dgm:pt>
    <dgm:pt modelId="{5A0D2530-66A5-456F-BF2D-18FEAD527C88}" type="pres">
      <dgm:prSet presAssocID="{1EB4BC62-DA52-4EFC-9CA8-418C08D2348D}" presName="bgRect" presStyleLbl="bgShp" presStyleIdx="4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D114D602-97C4-4F4E-85C6-8EC0B97D38A5}" type="pres">
      <dgm:prSet presAssocID="{1EB4BC62-DA52-4EFC-9CA8-418C08D2348D}" presName="iconRect" presStyleLbl="node1" presStyleIdx="4" presStyleCnt="7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Judge"/>
        </a:ext>
      </dgm:extLst>
    </dgm:pt>
    <dgm:pt modelId="{F68ED1C6-C795-4016-B7C9-7ECEB42F8720}" type="pres">
      <dgm:prSet presAssocID="{1EB4BC62-DA52-4EFC-9CA8-418C08D2348D}" presName="spaceRect" presStyleCnt="0"/>
      <dgm:spPr/>
    </dgm:pt>
    <dgm:pt modelId="{01E7E8D9-EBEA-4B3C-B1F3-7D20DA711A7B}" type="pres">
      <dgm:prSet presAssocID="{1EB4BC62-DA52-4EFC-9CA8-418C08D2348D}" presName="parTx" presStyleLbl="revTx" presStyleIdx="4" presStyleCnt="7">
        <dgm:presLayoutVars>
          <dgm:chMax val="0"/>
          <dgm:chPref val="0"/>
        </dgm:presLayoutVars>
      </dgm:prSet>
      <dgm:spPr/>
    </dgm:pt>
    <dgm:pt modelId="{6D0477B7-4235-4AC0-8113-107D722676B1}" type="pres">
      <dgm:prSet presAssocID="{C9EFA232-B22D-4D18-BF81-0244D2085864}" presName="sibTrans" presStyleCnt="0"/>
      <dgm:spPr/>
    </dgm:pt>
    <dgm:pt modelId="{9953D956-CD16-4C82-BDAF-7032F64A9D82}" type="pres">
      <dgm:prSet presAssocID="{231A5E3E-BEAC-4643-AEC0-494E55F94A3B}" presName="compNode" presStyleCnt="0"/>
      <dgm:spPr/>
    </dgm:pt>
    <dgm:pt modelId="{82650058-36C7-4EF2-A510-6B2A3BC56CBA}" type="pres">
      <dgm:prSet presAssocID="{231A5E3E-BEAC-4643-AEC0-494E55F94A3B}" presName="bgRect" presStyleLbl="bgShp" presStyleIdx="5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572EC3DD-4747-4D08-8080-FEFD01566235}" type="pres">
      <dgm:prSet presAssocID="{231A5E3E-BEAC-4643-AEC0-494E55F94A3B}" presName="iconRect" presStyleLbl="node1" presStyleIdx="5" presStyleCnt="7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isconnected"/>
        </a:ext>
      </dgm:extLst>
    </dgm:pt>
    <dgm:pt modelId="{C07ACDF1-B1C1-4585-90B0-3E3EA7B79A09}" type="pres">
      <dgm:prSet presAssocID="{231A5E3E-BEAC-4643-AEC0-494E55F94A3B}" presName="spaceRect" presStyleCnt="0"/>
      <dgm:spPr/>
    </dgm:pt>
    <dgm:pt modelId="{1D5AEC99-75BD-4251-A255-724AD0F0A785}" type="pres">
      <dgm:prSet presAssocID="{231A5E3E-BEAC-4643-AEC0-494E55F94A3B}" presName="parTx" presStyleLbl="revTx" presStyleIdx="5" presStyleCnt="7">
        <dgm:presLayoutVars>
          <dgm:chMax val="0"/>
          <dgm:chPref val="0"/>
        </dgm:presLayoutVars>
      </dgm:prSet>
      <dgm:spPr/>
    </dgm:pt>
    <dgm:pt modelId="{0F635DEF-46EA-4A08-8E08-AA4EB08FB4FB}" type="pres">
      <dgm:prSet presAssocID="{8F061D4F-67C0-462D-98B5-6197DF537B08}" presName="sibTrans" presStyleCnt="0"/>
      <dgm:spPr/>
    </dgm:pt>
    <dgm:pt modelId="{BD66F62F-8C23-456A-8572-580B0566BB24}" type="pres">
      <dgm:prSet presAssocID="{66759DA8-7923-4702-8294-94150FFE7905}" presName="compNode" presStyleCnt="0"/>
      <dgm:spPr/>
    </dgm:pt>
    <dgm:pt modelId="{BE66F222-4B7E-4DCF-98CD-4A27921714C6}" type="pres">
      <dgm:prSet presAssocID="{66759DA8-7923-4702-8294-94150FFE7905}" presName="bgRect" presStyleLbl="bgShp" presStyleIdx="6" presStyleCnt="7"/>
      <dgm:spPr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</dgm:spPr>
    </dgm:pt>
    <dgm:pt modelId="{ABDFA904-3FD3-466E-BD6D-472D480E10CF}" type="pres">
      <dgm:prSet presAssocID="{66759DA8-7923-4702-8294-94150FFE7905}" presName="iconRect" presStyleLbl="node1" presStyleIdx="6" presStyleCnt="7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anger"/>
        </a:ext>
      </dgm:extLst>
    </dgm:pt>
    <dgm:pt modelId="{8FA247E0-6072-457B-89A1-DED4048B43F8}" type="pres">
      <dgm:prSet presAssocID="{66759DA8-7923-4702-8294-94150FFE7905}" presName="spaceRect" presStyleCnt="0"/>
      <dgm:spPr/>
    </dgm:pt>
    <dgm:pt modelId="{D7759015-1B81-45A3-B24B-BC9FC83003A9}" type="pres">
      <dgm:prSet presAssocID="{66759DA8-7923-4702-8294-94150FFE7905}" presName="parTx" presStyleLbl="revTx" presStyleIdx="6" presStyleCnt="7">
        <dgm:presLayoutVars>
          <dgm:chMax val="0"/>
          <dgm:chPref val="0"/>
        </dgm:presLayoutVars>
      </dgm:prSet>
      <dgm:spPr/>
    </dgm:pt>
  </dgm:ptLst>
  <dgm:cxnLst>
    <dgm:cxn modelId="{D818F30C-1322-4A6C-907B-B5070F17DAAC}" type="presOf" srcId="{231A5E3E-BEAC-4643-AEC0-494E55F94A3B}" destId="{1D5AEC99-75BD-4251-A255-724AD0F0A785}" srcOrd="0" destOrd="0" presId="urn:microsoft.com/office/officeart/2018/2/layout/IconVerticalSolidList"/>
    <dgm:cxn modelId="{E77EBA1B-5581-4D3B-9B51-4D013AD71494}" srcId="{847EA9A9-2A7E-4FE6-BE29-8DF151ECBC7E}" destId="{49DA00EC-20E3-4959-92DB-5FE0DB4E1078}" srcOrd="3" destOrd="0" parTransId="{ADCB2420-3E8D-4D10-815F-BFB534DBDEEC}" sibTransId="{1407D1F4-DC74-4D0C-B033-11CE032EE418}"/>
    <dgm:cxn modelId="{29285D23-F79F-423B-845E-96885EC89782}" srcId="{847EA9A9-2A7E-4FE6-BE29-8DF151ECBC7E}" destId="{0C3E5329-EB5E-4889-9701-0849A8CD9D82}" srcOrd="2" destOrd="0" parTransId="{4F78A490-1C23-4BBF-8016-997EFAAE478F}" sibTransId="{1E1AEB77-E215-409E-B983-A154334C1190}"/>
    <dgm:cxn modelId="{7679CC2C-2F93-45DD-8FD1-EAE80E8D2F54}" type="presOf" srcId="{75B6AE6A-9B0F-4ADC-B232-83EB04025669}" destId="{A97B8EB0-C577-4054-84C1-818EA38BF5B9}" srcOrd="0" destOrd="0" presId="urn:microsoft.com/office/officeart/2018/2/layout/IconVerticalSolidList"/>
    <dgm:cxn modelId="{5F3EAE2F-CA10-430A-BC7E-7258531660C4}" srcId="{847EA9A9-2A7E-4FE6-BE29-8DF151ECBC7E}" destId="{1EB4BC62-DA52-4EFC-9CA8-418C08D2348D}" srcOrd="4" destOrd="0" parTransId="{5ADD28B4-A80F-4093-AC94-16D6D563B90B}" sibTransId="{C9EFA232-B22D-4D18-BF81-0244D2085864}"/>
    <dgm:cxn modelId="{D6C03041-38B9-47C1-8E52-6B28B2918FA9}" type="presOf" srcId="{49DA00EC-20E3-4959-92DB-5FE0DB4E1078}" destId="{CDB89971-F98F-4B5E-A3E6-D8B427874E72}" srcOrd="0" destOrd="0" presId="urn:microsoft.com/office/officeart/2018/2/layout/IconVerticalSolidList"/>
    <dgm:cxn modelId="{49F54472-36C4-425F-8C9B-C950C9F6086B}" srcId="{847EA9A9-2A7E-4FE6-BE29-8DF151ECBC7E}" destId="{231A5E3E-BEAC-4643-AEC0-494E55F94A3B}" srcOrd="5" destOrd="0" parTransId="{2BC36E68-80C0-47FE-9E60-1D6E80AC1868}" sibTransId="{8F061D4F-67C0-462D-98B5-6197DF537B08}"/>
    <dgm:cxn modelId="{70664678-7D95-4040-BAA2-65732A9AA565}" srcId="{847EA9A9-2A7E-4FE6-BE29-8DF151ECBC7E}" destId="{66759DA8-7923-4702-8294-94150FFE7905}" srcOrd="6" destOrd="0" parTransId="{8CE7926D-684E-4318-8AD1-74B82DCD2295}" sibTransId="{94499F2B-AD42-41F6-B221-73712FCD1BC6}"/>
    <dgm:cxn modelId="{6C27A281-66E1-45B5-A4BE-248B6BE1627A}" type="presOf" srcId="{66759DA8-7923-4702-8294-94150FFE7905}" destId="{D7759015-1B81-45A3-B24B-BC9FC83003A9}" srcOrd="0" destOrd="0" presId="urn:microsoft.com/office/officeart/2018/2/layout/IconVerticalSolidList"/>
    <dgm:cxn modelId="{81BD908A-B3E1-49DE-BA25-2B16265F4D2F}" type="presOf" srcId="{79707194-1D02-4749-851A-78251A8D6A8E}" destId="{DCAD54F1-4A2A-422E-A86B-590182CAB8AA}" srcOrd="0" destOrd="0" presId="urn:microsoft.com/office/officeart/2018/2/layout/IconVerticalSolidList"/>
    <dgm:cxn modelId="{D09CC8A9-46E9-47A1-BB53-4452D9271091}" srcId="{847EA9A9-2A7E-4FE6-BE29-8DF151ECBC7E}" destId="{79707194-1D02-4749-851A-78251A8D6A8E}" srcOrd="0" destOrd="0" parTransId="{B397E0D1-58FC-466E-A76A-0F9A90D32313}" sibTransId="{CE8F1689-E460-49B6-A0B4-2F42C7441D1E}"/>
    <dgm:cxn modelId="{9F5A14CB-658A-436A-B99C-A7175E7270B3}" type="presOf" srcId="{1EB4BC62-DA52-4EFC-9CA8-418C08D2348D}" destId="{01E7E8D9-EBEA-4B3C-B1F3-7D20DA711A7B}" srcOrd="0" destOrd="0" presId="urn:microsoft.com/office/officeart/2018/2/layout/IconVerticalSolidList"/>
    <dgm:cxn modelId="{27CFAFCD-D7A4-44B7-AB04-05DDFB43B433}" type="presOf" srcId="{0C3E5329-EB5E-4889-9701-0849A8CD9D82}" destId="{635091B8-29C0-4ABE-8DEC-334A61052E0C}" srcOrd="0" destOrd="0" presId="urn:microsoft.com/office/officeart/2018/2/layout/IconVerticalSolidList"/>
    <dgm:cxn modelId="{30EE8FD0-BD9C-4801-926D-EF30B1D06E67}" type="presOf" srcId="{847EA9A9-2A7E-4FE6-BE29-8DF151ECBC7E}" destId="{41503E0F-AB6D-4568-9453-ABA59B82A4CC}" srcOrd="0" destOrd="0" presId="urn:microsoft.com/office/officeart/2018/2/layout/IconVerticalSolidList"/>
    <dgm:cxn modelId="{4A976ED4-AF6F-4F67-A1E0-E71395EFB4BC}" srcId="{847EA9A9-2A7E-4FE6-BE29-8DF151ECBC7E}" destId="{75B6AE6A-9B0F-4ADC-B232-83EB04025669}" srcOrd="1" destOrd="0" parTransId="{AC4E4FE5-E6E9-4735-AABB-0C6819A38BD3}" sibTransId="{55B0ED60-47A9-4C9D-BED3-2A9BE70A9BE5}"/>
    <dgm:cxn modelId="{7764F367-69E6-42F8-9942-2B45C170F23C}" type="presParOf" srcId="{41503E0F-AB6D-4568-9453-ABA59B82A4CC}" destId="{818C0BB3-442E-42EB-B956-37DA187B65FF}" srcOrd="0" destOrd="0" presId="urn:microsoft.com/office/officeart/2018/2/layout/IconVerticalSolidList"/>
    <dgm:cxn modelId="{B1A87625-FDDD-470C-9948-EBDE1C583797}" type="presParOf" srcId="{818C0BB3-442E-42EB-B956-37DA187B65FF}" destId="{52A512D9-B40D-47F9-A846-C726F51B1EC6}" srcOrd="0" destOrd="0" presId="urn:microsoft.com/office/officeart/2018/2/layout/IconVerticalSolidList"/>
    <dgm:cxn modelId="{A649D295-303E-4C20-A1C1-EE8655DB743D}" type="presParOf" srcId="{818C0BB3-442E-42EB-B956-37DA187B65FF}" destId="{CA508474-D63E-4A16-9167-594C791466C4}" srcOrd="1" destOrd="0" presId="urn:microsoft.com/office/officeart/2018/2/layout/IconVerticalSolidList"/>
    <dgm:cxn modelId="{EA9C3C44-3F44-41FC-BA02-561396A52DC4}" type="presParOf" srcId="{818C0BB3-442E-42EB-B956-37DA187B65FF}" destId="{58DC08D3-6ECA-4AC7-A6C4-0D833EF8AF69}" srcOrd="2" destOrd="0" presId="urn:microsoft.com/office/officeart/2018/2/layout/IconVerticalSolidList"/>
    <dgm:cxn modelId="{85C5D796-CDB9-455E-B70D-B4570475239E}" type="presParOf" srcId="{818C0BB3-442E-42EB-B956-37DA187B65FF}" destId="{DCAD54F1-4A2A-422E-A86B-590182CAB8AA}" srcOrd="3" destOrd="0" presId="urn:microsoft.com/office/officeart/2018/2/layout/IconVerticalSolidList"/>
    <dgm:cxn modelId="{5DC63FE3-F47A-4EE0-AC64-5DEAC86101B9}" type="presParOf" srcId="{41503E0F-AB6D-4568-9453-ABA59B82A4CC}" destId="{446014D1-B799-4496-B82A-4DBBC3131499}" srcOrd="1" destOrd="0" presId="urn:microsoft.com/office/officeart/2018/2/layout/IconVerticalSolidList"/>
    <dgm:cxn modelId="{8A233716-9FCA-43AD-AA73-0128AC00C354}" type="presParOf" srcId="{41503E0F-AB6D-4568-9453-ABA59B82A4CC}" destId="{4FFB4288-2951-440D-A775-60785C73E6AA}" srcOrd="2" destOrd="0" presId="urn:microsoft.com/office/officeart/2018/2/layout/IconVerticalSolidList"/>
    <dgm:cxn modelId="{5761CE23-6E3E-4423-B3C2-434604B75C64}" type="presParOf" srcId="{4FFB4288-2951-440D-A775-60785C73E6AA}" destId="{02EE004D-26FC-47D1-8269-69D20901CA23}" srcOrd="0" destOrd="0" presId="urn:microsoft.com/office/officeart/2018/2/layout/IconVerticalSolidList"/>
    <dgm:cxn modelId="{E85BEDC8-A53E-4446-9D5C-A731E65843DC}" type="presParOf" srcId="{4FFB4288-2951-440D-A775-60785C73E6AA}" destId="{9E412361-0DD8-455E-ABDC-E515BF65EB9D}" srcOrd="1" destOrd="0" presId="urn:microsoft.com/office/officeart/2018/2/layout/IconVerticalSolidList"/>
    <dgm:cxn modelId="{2084EAE0-59C1-4824-BB88-EC6E2D3B17A6}" type="presParOf" srcId="{4FFB4288-2951-440D-A775-60785C73E6AA}" destId="{C21354FB-AD36-42B0-93BE-5F83ED150F04}" srcOrd="2" destOrd="0" presId="urn:microsoft.com/office/officeart/2018/2/layout/IconVerticalSolidList"/>
    <dgm:cxn modelId="{E0100DCD-D12C-4CB8-BB4D-ABCD61BD9CE0}" type="presParOf" srcId="{4FFB4288-2951-440D-A775-60785C73E6AA}" destId="{A97B8EB0-C577-4054-84C1-818EA38BF5B9}" srcOrd="3" destOrd="0" presId="urn:microsoft.com/office/officeart/2018/2/layout/IconVerticalSolidList"/>
    <dgm:cxn modelId="{83F229D3-927C-48FD-B23D-AF8AA8B82141}" type="presParOf" srcId="{41503E0F-AB6D-4568-9453-ABA59B82A4CC}" destId="{9D06C7C4-FB12-4400-9E9F-3C637653350D}" srcOrd="3" destOrd="0" presId="urn:microsoft.com/office/officeart/2018/2/layout/IconVerticalSolidList"/>
    <dgm:cxn modelId="{66BF3226-B8AF-4579-9164-F093145D375C}" type="presParOf" srcId="{41503E0F-AB6D-4568-9453-ABA59B82A4CC}" destId="{40ADC1F3-7B7B-415D-B1A9-2DD20BC18B22}" srcOrd="4" destOrd="0" presId="urn:microsoft.com/office/officeart/2018/2/layout/IconVerticalSolidList"/>
    <dgm:cxn modelId="{022D8607-A031-49DB-8509-715D6BF9D836}" type="presParOf" srcId="{40ADC1F3-7B7B-415D-B1A9-2DD20BC18B22}" destId="{3951A61D-F069-4616-989D-20A828000FE1}" srcOrd="0" destOrd="0" presId="urn:microsoft.com/office/officeart/2018/2/layout/IconVerticalSolidList"/>
    <dgm:cxn modelId="{E700E08F-EB87-4082-89A7-1384E24C26E9}" type="presParOf" srcId="{40ADC1F3-7B7B-415D-B1A9-2DD20BC18B22}" destId="{B2C44930-8854-438D-90B1-22C51B82B008}" srcOrd="1" destOrd="0" presId="urn:microsoft.com/office/officeart/2018/2/layout/IconVerticalSolidList"/>
    <dgm:cxn modelId="{394BFDDB-060A-4AA2-819F-BB41CBF2BE39}" type="presParOf" srcId="{40ADC1F3-7B7B-415D-B1A9-2DD20BC18B22}" destId="{BFF2EDA0-9815-4D23-9634-A8908693BE85}" srcOrd="2" destOrd="0" presId="urn:microsoft.com/office/officeart/2018/2/layout/IconVerticalSolidList"/>
    <dgm:cxn modelId="{255A13CA-A235-4E9A-A9C6-93893D7A2507}" type="presParOf" srcId="{40ADC1F3-7B7B-415D-B1A9-2DD20BC18B22}" destId="{635091B8-29C0-4ABE-8DEC-334A61052E0C}" srcOrd="3" destOrd="0" presId="urn:microsoft.com/office/officeart/2018/2/layout/IconVerticalSolidList"/>
    <dgm:cxn modelId="{71A1E1F1-CE51-40F8-A2FA-206DF8F823E0}" type="presParOf" srcId="{41503E0F-AB6D-4568-9453-ABA59B82A4CC}" destId="{935AB0F7-C73A-4D15-9A92-396AE39B2FBF}" srcOrd="5" destOrd="0" presId="urn:microsoft.com/office/officeart/2018/2/layout/IconVerticalSolidList"/>
    <dgm:cxn modelId="{C8288FD7-26CB-4EBA-BB2D-2FD5A04DC1DC}" type="presParOf" srcId="{41503E0F-AB6D-4568-9453-ABA59B82A4CC}" destId="{5668A616-B452-4CEF-8524-26589C63C0B2}" srcOrd="6" destOrd="0" presId="urn:microsoft.com/office/officeart/2018/2/layout/IconVerticalSolidList"/>
    <dgm:cxn modelId="{CFC3F0F5-8712-4255-B3F6-776D8D752F3B}" type="presParOf" srcId="{5668A616-B452-4CEF-8524-26589C63C0B2}" destId="{2B9FBFC2-2DA2-4537-8E9D-0102188BB8DA}" srcOrd="0" destOrd="0" presId="urn:microsoft.com/office/officeart/2018/2/layout/IconVerticalSolidList"/>
    <dgm:cxn modelId="{4A45D0AE-36E3-4452-856A-CD1D3811D8C9}" type="presParOf" srcId="{5668A616-B452-4CEF-8524-26589C63C0B2}" destId="{098824A6-FCA5-4A1B-9C93-02EBF6CE40C2}" srcOrd="1" destOrd="0" presId="urn:microsoft.com/office/officeart/2018/2/layout/IconVerticalSolidList"/>
    <dgm:cxn modelId="{3F9D3024-2126-42EC-90E1-7BF485C9C15F}" type="presParOf" srcId="{5668A616-B452-4CEF-8524-26589C63C0B2}" destId="{73A4532D-A95C-4D67-8544-DF90B65AF08C}" srcOrd="2" destOrd="0" presId="urn:microsoft.com/office/officeart/2018/2/layout/IconVerticalSolidList"/>
    <dgm:cxn modelId="{08EB8FB1-3714-477A-AE26-42B8F0E5E0B0}" type="presParOf" srcId="{5668A616-B452-4CEF-8524-26589C63C0B2}" destId="{CDB89971-F98F-4B5E-A3E6-D8B427874E72}" srcOrd="3" destOrd="0" presId="urn:microsoft.com/office/officeart/2018/2/layout/IconVerticalSolidList"/>
    <dgm:cxn modelId="{4C7BD465-06BA-492D-9344-AE65BF7C816C}" type="presParOf" srcId="{41503E0F-AB6D-4568-9453-ABA59B82A4CC}" destId="{C8798EC8-CDEE-4D35-BD8F-FAC6BDEAA192}" srcOrd="7" destOrd="0" presId="urn:microsoft.com/office/officeart/2018/2/layout/IconVerticalSolidList"/>
    <dgm:cxn modelId="{0F35A382-B482-4665-AE8F-7FA3319F638D}" type="presParOf" srcId="{41503E0F-AB6D-4568-9453-ABA59B82A4CC}" destId="{4729E7F1-7AFB-47B7-90AD-2020F44037FA}" srcOrd="8" destOrd="0" presId="urn:microsoft.com/office/officeart/2018/2/layout/IconVerticalSolidList"/>
    <dgm:cxn modelId="{65840494-C98E-4CB8-BD1D-811B8299161F}" type="presParOf" srcId="{4729E7F1-7AFB-47B7-90AD-2020F44037FA}" destId="{5A0D2530-66A5-456F-BF2D-18FEAD527C88}" srcOrd="0" destOrd="0" presId="urn:microsoft.com/office/officeart/2018/2/layout/IconVerticalSolidList"/>
    <dgm:cxn modelId="{A879AE33-018F-4C09-AA23-E0631F2C6BE1}" type="presParOf" srcId="{4729E7F1-7AFB-47B7-90AD-2020F44037FA}" destId="{D114D602-97C4-4F4E-85C6-8EC0B97D38A5}" srcOrd="1" destOrd="0" presId="urn:microsoft.com/office/officeart/2018/2/layout/IconVerticalSolidList"/>
    <dgm:cxn modelId="{DC17511B-192F-4FFA-8DC8-CE5DA8FAD1F6}" type="presParOf" srcId="{4729E7F1-7AFB-47B7-90AD-2020F44037FA}" destId="{F68ED1C6-C795-4016-B7C9-7ECEB42F8720}" srcOrd="2" destOrd="0" presId="urn:microsoft.com/office/officeart/2018/2/layout/IconVerticalSolidList"/>
    <dgm:cxn modelId="{DA9EFEF3-62EB-4059-A26E-2025569862EB}" type="presParOf" srcId="{4729E7F1-7AFB-47B7-90AD-2020F44037FA}" destId="{01E7E8D9-EBEA-4B3C-B1F3-7D20DA711A7B}" srcOrd="3" destOrd="0" presId="urn:microsoft.com/office/officeart/2018/2/layout/IconVerticalSolidList"/>
    <dgm:cxn modelId="{F87B0E24-31F6-4D54-98AA-A70A7A8F20CD}" type="presParOf" srcId="{41503E0F-AB6D-4568-9453-ABA59B82A4CC}" destId="{6D0477B7-4235-4AC0-8113-107D722676B1}" srcOrd="9" destOrd="0" presId="urn:microsoft.com/office/officeart/2018/2/layout/IconVerticalSolidList"/>
    <dgm:cxn modelId="{A6FF06EF-99D8-4201-9175-84A2B472BF31}" type="presParOf" srcId="{41503E0F-AB6D-4568-9453-ABA59B82A4CC}" destId="{9953D956-CD16-4C82-BDAF-7032F64A9D82}" srcOrd="10" destOrd="0" presId="urn:microsoft.com/office/officeart/2018/2/layout/IconVerticalSolidList"/>
    <dgm:cxn modelId="{57A88F67-DCEE-4ED7-881E-8419DF85DD47}" type="presParOf" srcId="{9953D956-CD16-4C82-BDAF-7032F64A9D82}" destId="{82650058-36C7-4EF2-A510-6B2A3BC56CBA}" srcOrd="0" destOrd="0" presId="urn:microsoft.com/office/officeart/2018/2/layout/IconVerticalSolidList"/>
    <dgm:cxn modelId="{C81684E3-DB97-4A20-B077-4C0EF8285D5A}" type="presParOf" srcId="{9953D956-CD16-4C82-BDAF-7032F64A9D82}" destId="{572EC3DD-4747-4D08-8080-FEFD01566235}" srcOrd="1" destOrd="0" presId="urn:microsoft.com/office/officeart/2018/2/layout/IconVerticalSolidList"/>
    <dgm:cxn modelId="{88CB60DD-4232-4559-ADBA-0712828E6B47}" type="presParOf" srcId="{9953D956-CD16-4C82-BDAF-7032F64A9D82}" destId="{C07ACDF1-B1C1-4585-90B0-3E3EA7B79A09}" srcOrd="2" destOrd="0" presId="urn:microsoft.com/office/officeart/2018/2/layout/IconVerticalSolidList"/>
    <dgm:cxn modelId="{540E35C7-9720-4C06-BD16-B2CF52A17EF9}" type="presParOf" srcId="{9953D956-CD16-4C82-BDAF-7032F64A9D82}" destId="{1D5AEC99-75BD-4251-A255-724AD0F0A785}" srcOrd="3" destOrd="0" presId="urn:microsoft.com/office/officeart/2018/2/layout/IconVerticalSolidList"/>
    <dgm:cxn modelId="{2F09106C-2AC1-4237-A6DC-88F4B5E2FA6B}" type="presParOf" srcId="{41503E0F-AB6D-4568-9453-ABA59B82A4CC}" destId="{0F635DEF-46EA-4A08-8E08-AA4EB08FB4FB}" srcOrd="11" destOrd="0" presId="urn:microsoft.com/office/officeart/2018/2/layout/IconVerticalSolidList"/>
    <dgm:cxn modelId="{0923AB66-4669-4AF9-B091-7370E4CF2BCF}" type="presParOf" srcId="{41503E0F-AB6D-4568-9453-ABA59B82A4CC}" destId="{BD66F62F-8C23-456A-8572-580B0566BB24}" srcOrd="12" destOrd="0" presId="urn:microsoft.com/office/officeart/2018/2/layout/IconVerticalSolidList"/>
    <dgm:cxn modelId="{9DFE0185-21F6-4FBE-87C9-1FD902F7B569}" type="presParOf" srcId="{BD66F62F-8C23-456A-8572-580B0566BB24}" destId="{BE66F222-4B7E-4DCF-98CD-4A27921714C6}" srcOrd="0" destOrd="0" presId="urn:microsoft.com/office/officeart/2018/2/layout/IconVerticalSolidList"/>
    <dgm:cxn modelId="{37D77434-6E02-42DB-A00D-FF885F13AC97}" type="presParOf" srcId="{BD66F62F-8C23-456A-8572-580B0566BB24}" destId="{ABDFA904-3FD3-466E-BD6D-472D480E10CF}" srcOrd="1" destOrd="0" presId="urn:microsoft.com/office/officeart/2018/2/layout/IconVerticalSolidList"/>
    <dgm:cxn modelId="{C18C432C-5C9F-41A1-A272-16B12699F464}" type="presParOf" srcId="{BD66F62F-8C23-456A-8572-580B0566BB24}" destId="{8FA247E0-6072-457B-89A1-DED4048B43F8}" srcOrd="2" destOrd="0" presId="urn:microsoft.com/office/officeart/2018/2/layout/IconVerticalSolidList"/>
    <dgm:cxn modelId="{D03EB339-5978-433A-A519-1DFB4A35EDEB}" type="presParOf" srcId="{BD66F62F-8C23-456A-8572-580B0566BB24}" destId="{D7759015-1B81-45A3-B24B-BC9FC83003A9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B06EB90-98C5-4859-922A-0B07742D82AD}" type="doc">
      <dgm:prSet loTypeId="urn:microsoft.com/office/officeart/2005/8/layout/hList1" loCatId="list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FD113CBC-AF41-4DDD-A93A-E07E64820BFB}" type="parTrans" cxnId="{265AE446-81CB-4329-8409-3A39E54094F3}">
      <dgm:prSet/>
      <dgm:spPr/>
      <dgm:t>
        <a:bodyPr/>
        <a:lstStyle/>
        <a:p>
          <a:endParaRPr lang="en-GB"/>
        </a:p>
      </dgm:t>
    </dgm:pt>
    <dgm:pt modelId="{C29D6BEC-58D3-4007-A770-E0D07CF2E858}">
      <dgm:prSet phldrT="[Text]"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21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coso en el lugar de trabajo</a:t>
          </a:r>
          <a:endParaRPr lang="en-GB"/>
        </a:p>
      </dgm:t>
    </dgm:pt>
    <dgm:pt modelId="{E4D8EC6F-60EA-4903-9AE3-265F0EC19DDD}" type="parTrans" cxnId="{6858FAB7-EAD1-4936-A6EF-0316FAA4590F}">
      <dgm:prSet/>
      <dgm:spPr/>
      <dgm:t>
        <a:bodyPr/>
        <a:lstStyle/>
        <a:p>
          <a:endParaRPr lang="en-GB"/>
        </a:p>
      </dgm:t>
    </dgm:pt>
    <dgm:pt modelId="{F6E8E447-F8CD-43F1-87DE-F74AE20E1C91}">
      <dgm:prSet phldrT="[Text]"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es-LA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ducta no deseada u ofensiva que se basa en </a:t>
          </a:r>
          <a:r>
            <a:rPr lang="es-LA" sz="2100" b="0" i="1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ualquier fundamento </a:t>
          </a:r>
          <a:r>
            <a:rPr lang="es-LA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rotegido.</a:t>
          </a:r>
        </a:p>
      </dgm:t>
    </dgm:pt>
    <dgm:pt modelId="{21C90245-59AD-4456-922C-A50A5148DBF2}" type="sibTrans" cxnId="{6858FAB7-EAD1-4936-A6EF-0316FAA4590F}">
      <dgm:prSet/>
      <dgm:spPr/>
      <dgm:t>
        <a:bodyPr/>
        <a:lstStyle/>
        <a:p>
          <a:endParaRPr lang="en-GB"/>
        </a:p>
      </dgm:t>
    </dgm:pt>
    <dgm:pt modelId="{234ECDCA-080C-43A2-ACFE-8CED12658805}" type="sibTrans" cxnId="{265AE446-81CB-4329-8409-3A39E54094F3}">
      <dgm:prSet/>
      <dgm:spPr/>
      <dgm:t>
        <a:bodyPr/>
        <a:lstStyle/>
        <a:p>
          <a:endParaRPr lang="en-GB"/>
        </a:p>
      </dgm:t>
    </dgm:pt>
    <dgm:pt modelId="{5826039D-93BE-4C3C-BF14-BA91B7E8A1CC}" type="parTrans" cxnId="{873929D3-0332-4734-A78D-247068779A4A}">
      <dgm:prSet/>
      <dgm:spPr/>
      <dgm:t>
        <a:bodyPr/>
        <a:lstStyle/>
        <a:p>
          <a:endParaRPr lang="en-GB"/>
        </a:p>
      </dgm:t>
    </dgm:pt>
    <dgm:pt modelId="{2DC141A4-B592-435C-823C-677788188CBD}">
      <dgm:prSet phldrT="[Text]"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21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ierras protegidas</a:t>
          </a:r>
          <a:endParaRPr lang="en-GB"/>
        </a:p>
      </dgm:t>
    </dgm:pt>
    <dgm:pt modelId="{6673230B-FBEF-4439-B2A7-4E383CCD7B9A}" type="parTrans" cxnId="{7EA694D7-FEFF-4B9D-B80F-663C0EA77549}">
      <dgm:prSet/>
      <dgm:spPr/>
      <dgm:t>
        <a:bodyPr/>
        <a:lstStyle/>
        <a:p>
          <a:endParaRPr lang="en-GB"/>
        </a:p>
      </dgm:t>
    </dgm:pt>
    <dgm:pt modelId="{223E87BF-8BFA-4539-B616-ECF59C7A60AB}">
      <dgm:prSet phldrT="[Text]"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es-LA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asgos personales que no tienen permitido afectar el empleo o las decisiones relacionadas con el empleo. </a:t>
          </a:r>
        </a:p>
      </dgm:t>
    </dgm:pt>
    <dgm:pt modelId="{4BBBD690-4134-49AB-AC0C-39A005EB0B05}" type="sibTrans" cxnId="{7EA694D7-FEFF-4B9D-B80F-663C0EA77549}">
      <dgm:prSet/>
      <dgm:spPr/>
      <dgm:t>
        <a:bodyPr/>
        <a:lstStyle/>
        <a:p>
          <a:endParaRPr lang="en-GB"/>
        </a:p>
      </dgm:t>
    </dgm:pt>
    <dgm:pt modelId="{6BB0F509-FF30-4DCA-9060-AF24BAB8AA60}" type="parTrans" cxnId="{CEAD8176-B640-4D96-B736-CBE3878D5A8D}">
      <dgm:prSet/>
      <dgm:spPr/>
      <dgm:t>
        <a:bodyPr/>
        <a:lstStyle/>
        <a:p>
          <a:endParaRPr lang="en-GB"/>
        </a:p>
      </dgm:t>
    </dgm:pt>
    <dgm:pt modelId="{7D531FA8-26FB-40E8-8E51-E296BACB2531}">
      <dgm:prSet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lnSpc>
              <a:spcPct val="100000"/>
            </a:lnSpc>
          </a:pPr>
          <a:r>
            <a:rPr lang="es-LA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Las personas pueden tener más de un terreno protegido</a:t>
          </a:r>
        </a:p>
      </dgm:t>
    </dgm:pt>
    <dgm:pt modelId="{E3D22D90-1931-4C1B-AA8B-D22F38EAF7EE}" type="sibTrans" cxnId="{CEAD8176-B640-4D96-B736-CBE3878D5A8D}">
      <dgm:prSet/>
      <dgm:spPr/>
      <dgm:t>
        <a:bodyPr/>
        <a:lstStyle/>
        <a:p>
          <a:endParaRPr lang="en-GB"/>
        </a:p>
      </dgm:t>
    </dgm:pt>
    <dgm:pt modelId="{C216D1D6-3A84-44F9-B1FF-E74F77D90E6D}" type="sibTrans" cxnId="{873929D3-0332-4734-A78D-247068779A4A}">
      <dgm:prSet/>
      <dgm:spPr/>
      <dgm:t>
        <a:bodyPr/>
        <a:lstStyle/>
        <a:p>
          <a:endParaRPr lang="en-GB"/>
        </a:p>
      </dgm:t>
    </dgm:pt>
    <dgm:pt modelId="{B714127B-1401-4012-8F90-450026D014FF}" type="parTrans" cxnId="{81643197-5189-4A8E-AA54-A51CD0ADF261}">
      <dgm:prSet/>
      <dgm:spPr/>
      <dgm:t>
        <a:bodyPr/>
        <a:lstStyle/>
        <a:p>
          <a:endParaRPr lang="en-GB"/>
        </a:p>
      </dgm:t>
    </dgm:pt>
    <dgm:pt modelId="{4488291A-BD94-4685-A34F-B885F3B8EFAD}">
      <dgm:prSet phldrT="[Text]"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21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portamiento interseccional</a:t>
          </a:r>
          <a:endParaRPr lang="en-GB"/>
        </a:p>
      </dgm:t>
    </dgm:pt>
    <dgm:pt modelId="{4B04EFF0-8494-45E6-8388-35E677B94DE7}" type="parTrans" cxnId="{6FF69C3B-6A68-4E95-8F44-FE5FCFCDE365}">
      <dgm:prSet/>
      <dgm:spPr/>
      <dgm:t>
        <a:bodyPr/>
        <a:lstStyle/>
        <a:p>
          <a:endParaRPr lang="en-GB"/>
        </a:p>
      </dgm:t>
    </dgm:pt>
    <dgm:pt modelId="{2C970401-B79F-44D8-840F-AFC1E28EEAE5}">
      <dgm:prSet phldrT="[Text]" custT="1"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es-LA" sz="21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ducta inadecuada dirigida a más de un terreno protegido.</a:t>
          </a:r>
        </a:p>
      </dgm:t>
    </dgm:pt>
    <dgm:pt modelId="{7A00C314-1333-4C01-ACD9-D8DA13F98F78}" type="sibTrans" cxnId="{6FF69C3B-6A68-4E95-8F44-FE5FCFCDE365}">
      <dgm:prSet/>
      <dgm:spPr/>
      <dgm:t>
        <a:bodyPr/>
        <a:lstStyle/>
        <a:p>
          <a:endParaRPr lang="en-GB"/>
        </a:p>
      </dgm:t>
    </dgm:pt>
    <dgm:pt modelId="{746779FD-0831-4795-B732-3F2981C93DCE}" type="parTrans" cxnId="{936A7F8B-C472-4C58-9414-D3DAA559D82C}">
      <dgm:prSet/>
      <dgm:spPr/>
      <dgm:t>
        <a:bodyPr/>
        <a:lstStyle/>
        <a:p>
          <a:endParaRPr lang="en-GB"/>
        </a:p>
      </dgm:t>
    </dgm:pt>
    <dgm:pt modelId="{D4BEA0F3-CE19-48A9-A8C5-5635AF03EA29}">
      <dgm:prSet/>
      <dgm:spPr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 anchor="ctr"/>
        <a:lstStyle/>
        <a:p>
          <a:pPr>
            <a:lnSpc>
              <a:spcPct val="100000"/>
            </a:lnSpc>
            <a:buNone/>
          </a:pPr>
          <a:endParaRPr lang="en-GB"/>
        </a:p>
      </dgm:t>
    </dgm:pt>
    <dgm:pt modelId="{39491536-F75E-4C10-899B-200BA7EC66DC}" type="sibTrans" cxnId="{936A7F8B-C472-4C58-9414-D3DAA559D82C}">
      <dgm:prSet/>
      <dgm:spPr/>
      <dgm:t>
        <a:bodyPr/>
        <a:lstStyle/>
        <a:p>
          <a:endParaRPr lang="en-GB"/>
        </a:p>
      </dgm:t>
    </dgm:pt>
    <dgm:pt modelId="{8656FD64-C920-4C1A-B228-DDB0A8E05BB7}" type="sibTrans" cxnId="{81643197-5189-4A8E-AA54-A51CD0ADF261}">
      <dgm:prSet/>
      <dgm:spPr/>
      <dgm:t>
        <a:bodyPr/>
        <a:lstStyle/>
        <a:p>
          <a:endParaRPr lang="en-GB"/>
        </a:p>
      </dgm:t>
    </dgm:pt>
    <dgm:pt modelId="{0FEB684E-E113-451E-B492-3E45F5FEF5C1}" type="pres">
      <dgm:prSet presAssocID="{5B06EB90-98C5-4859-922A-0B07742D82AD}" presName="Name0" presStyleCnt="0">
        <dgm:presLayoutVars>
          <dgm:dir/>
          <dgm:animLvl val="lvl"/>
          <dgm:resizeHandles val="exact"/>
        </dgm:presLayoutVars>
      </dgm:prSet>
      <dgm:spPr/>
    </dgm:pt>
    <dgm:pt modelId="{17481383-1DBB-4595-AEFE-D8D1DA23F699}" type="pres">
      <dgm:prSet presAssocID="{C29D6BEC-58D3-4007-A770-E0D07CF2E858}" presName="composite" presStyleCnt="0"/>
      <dgm:spPr/>
    </dgm:pt>
    <dgm:pt modelId="{B77136BE-66B6-43CA-ABD3-5EC058011C77}" type="pres">
      <dgm:prSet presAssocID="{C29D6BEC-58D3-4007-A770-E0D07CF2E858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5A01AD50-A4BE-433F-882C-7262AEE7DECE}" type="pres">
      <dgm:prSet presAssocID="{C29D6BEC-58D3-4007-A770-E0D07CF2E858}" presName="desTx" presStyleLbl="alignAccFollowNode1" presStyleIdx="0" presStyleCnt="3">
        <dgm:presLayoutVars>
          <dgm:bulletEnabled val="1"/>
        </dgm:presLayoutVars>
      </dgm:prSet>
      <dgm:spPr/>
    </dgm:pt>
    <dgm:pt modelId="{60AC7C03-037F-4D1B-9634-D54EE3C5640B}" type="pres">
      <dgm:prSet presAssocID="{234ECDCA-080C-43A2-ACFE-8CED12658805}" presName="space" presStyleCnt="0"/>
      <dgm:spPr/>
    </dgm:pt>
    <dgm:pt modelId="{ECE42E4D-E658-4135-AE0B-4C8C74A989ED}" type="pres">
      <dgm:prSet presAssocID="{2DC141A4-B592-435C-823C-677788188CBD}" presName="composite" presStyleCnt="0"/>
      <dgm:spPr/>
    </dgm:pt>
    <dgm:pt modelId="{88EAAD68-E779-4ABE-A5DA-0983BBEBC27F}" type="pres">
      <dgm:prSet presAssocID="{2DC141A4-B592-435C-823C-677788188CBD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E09FF709-B9A1-467B-BBF8-2127A63B2EF3}" type="pres">
      <dgm:prSet presAssocID="{2DC141A4-B592-435C-823C-677788188CBD}" presName="desTx" presStyleLbl="alignAccFollowNode1" presStyleIdx="1" presStyleCnt="3">
        <dgm:presLayoutVars>
          <dgm:bulletEnabled val="1"/>
        </dgm:presLayoutVars>
      </dgm:prSet>
      <dgm:spPr/>
    </dgm:pt>
    <dgm:pt modelId="{9C741542-FC0D-4FA2-8EF6-9DC8D76C0ADD}" type="pres">
      <dgm:prSet presAssocID="{C216D1D6-3A84-44F9-B1FF-E74F77D90E6D}" presName="space" presStyleCnt="0"/>
      <dgm:spPr/>
    </dgm:pt>
    <dgm:pt modelId="{16AA0DCF-6F46-4C2E-80CE-761D09CFA840}" type="pres">
      <dgm:prSet presAssocID="{4488291A-BD94-4685-A34F-B885F3B8EFAD}" presName="composite" presStyleCnt="0"/>
      <dgm:spPr/>
    </dgm:pt>
    <dgm:pt modelId="{F96EBAB5-2385-44A0-9DAE-378482389753}" type="pres">
      <dgm:prSet presAssocID="{4488291A-BD94-4685-A34F-B885F3B8EFA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205221B7-809E-408A-8761-924C5606E944}" type="pres">
      <dgm:prSet presAssocID="{4488291A-BD94-4685-A34F-B885F3B8EFAD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F8AB3D09-A35B-41F2-98B4-81D3E31BB6B5}" type="presOf" srcId="{D4BEA0F3-CE19-48A9-A8C5-5635AF03EA29}" destId="{205221B7-809E-408A-8761-924C5606E944}" srcOrd="0" destOrd="1" presId="urn:microsoft.com/office/officeart/2005/8/layout/hList1"/>
    <dgm:cxn modelId="{80654C12-323C-4443-A88F-09324C72C063}" type="presOf" srcId="{5B06EB90-98C5-4859-922A-0B07742D82AD}" destId="{0FEB684E-E113-451E-B492-3E45F5FEF5C1}" srcOrd="0" destOrd="0" presId="urn:microsoft.com/office/officeart/2005/8/layout/hList1"/>
    <dgm:cxn modelId="{0F1E9E28-F7E8-408D-90DF-4ABF317754C6}" type="presOf" srcId="{4488291A-BD94-4685-A34F-B885F3B8EFAD}" destId="{F96EBAB5-2385-44A0-9DAE-378482389753}" srcOrd="0" destOrd="0" presId="urn:microsoft.com/office/officeart/2005/8/layout/hList1"/>
    <dgm:cxn modelId="{6FF69C3B-6A68-4E95-8F44-FE5FCFCDE365}" srcId="{4488291A-BD94-4685-A34F-B885F3B8EFAD}" destId="{2C970401-B79F-44D8-840F-AFC1E28EEAE5}" srcOrd="0" destOrd="0" parTransId="{4B04EFF0-8494-45E6-8388-35E677B94DE7}" sibTransId="{7A00C314-1333-4C01-ACD9-D8DA13F98F78}"/>
    <dgm:cxn modelId="{A6212D63-DE5E-41DC-B81A-1F5B961EA3FA}" type="presOf" srcId="{C29D6BEC-58D3-4007-A770-E0D07CF2E858}" destId="{B77136BE-66B6-43CA-ABD3-5EC058011C77}" srcOrd="0" destOrd="0" presId="urn:microsoft.com/office/officeart/2005/8/layout/hList1"/>
    <dgm:cxn modelId="{265AE446-81CB-4329-8409-3A39E54094F3}" srcId="{5B06EB90-98C5-4859-922A-0B07742D82AD}" destId="{C29D6BEC-58D3-4007-A770-E0D07CF2E858}" srcOrd="0" destOrd="0" parTransId="{FD113CBC-AF41-4DDD-A93A-E07E64820BFB}" sibTransId="{234ECDCA-080C-43A2-ACFE-8CED12658805}"/>
    <dgm:cxn modelId="{52181E51-FD35-442F-A5E3-681E51E9F394}" type="presOf" srcId="{2C970401-B79F-44D8-840F-AFC1E28EEAE5}" destId="{205221B7-809E-408A-8761-924C5606E944}" srcOrd="0" destOrd="0" presId="urn:microsoft.com/office/officeart/2005/8/layout/hList1"/>
    <dgm:cxn modelId="{CEAD8176-B640-4D96-B736-CBE3878D5A8D}" srcId="{2DC141A4-B592-435C-823C-677788188CBD}" destId="{7D531FA8-26FB-40E8-8E51-E296BACB2531}" srcOrd="1" destOrd="0" parTransId="{6BB0F509-FF30-4DCA-9060-AF24BAB8AA60}" sibTransId="{E3D22D90-1931-4C1B-AA8B-D22F38EAF7EE}"/>
    <dgm:cxn modelId="{3988E783-2323-4E36-9727-9A49AA12E5DE}" type="presOf" srcId="{F6E8E447-F8CD-43F1-87DE-F74AE20E1C91}" destId="{5A01AD50-A4BE-433F-882C-7262AEE7DECE}" srcOrd="0" destOrd="0" presId="urn:microsoft.com/office/officeart/2005/8/layout/hList1"/>
    <dgm:cxn modelId="{936A7F8B-C472-4C58-9414-D3DAA559D82C}" srcId="{4488291A-BD94-4685-A34F-B885F3B8EFAD}" destId="{D4BEA0F3-CE19-48A9-A8C5-5635AF03EA29}" srcOrd="1" destOrd="0" parTransId="{746779FD-0831-4795-B732-3F2981C93DCE}" sibTransId="{39491536-F75E-4C10-899B-200BA7EC66DC}"/>
    <dgm:cxn modelId="{90B70D8F-6401-4171-BDA5-469592818C76}" type="presOf" srcId="{223E87BF-8BFA-4539-B616-ECF59C7A60AB}" destId="{E09FF709-B9A1-467B-BBF8-2127A63B2EF3}" srcOrd="0" destOrd="0" presId="urn:microsoft.com/office/officeart/2005/8/layout/hList1"/>
    <dgm:cxn modelId="{81643197-5189-4A8E-AA54-A51CD0ADF261}" srcId="{5B06EB90-98C5-4859-922A-0B07742D82AD}" destId="{4488291A-BD94-4685-A34F-B885F3B8EFAD}" srcOrd="2" destOrd="0" parTransId="{B714127B-1401-4012-8F90-450026D014FF}" sibTransId="{8656FD64-C920-4C1A-B228-DDB0A8E05BB7}"/>
    <dgm:cxn modelId="{86A4AE9E-E24E-4481-96FB-174DBCB118FA}" type="presOf" srcId="{7D531FA8-26FB-40E8-8E51-E296BACB2531}" destId="{E09FF709-B9A1-467B-BBF8-2127A63B2EF3}" srcOrd="0" destOrd="1" presId="urn:microsoft.com/office/officeart/2005/8/layout/hList1"/>
    <dgm:cxn modelId="{712F1BA0-28F6-43DE-A520-430205634234}" type="presOf" srcId="{2DC141A4-B592-435C-823C-677788188CBD}" destId="{88EAAD68-E779-4ABE-A5DA-0983BBEBC27F}" srcOrd="0" destOrd="0" presId="urn:microsoft.com/office/officeart/2005/8/layout/hList1"/>
    <dgm:cxn modelId="{6858FAB7-EAD1-4936-A6EF-0316FAA4590F}" srcId="{C29D6BEC-58D3-4007-A770-E0D07CF2E858}" destId="{F6E8E447-F8CD-43F1-87DE-F74AE20E1C91}" srcOrd="0" destOrd="0" parTransId="{E4D8EC6F-60EA-4903-9AE3-265F0EC19DDD}" sibTransId="{21C90245-59AD-4456-922C-A50A5148DBF2}"/>
    <dgm:cxn modelId="{873929D3-0332-4734-A78D-247068779A4A}" srcId="{5B06EB90-98C5-4859-922A-0B07742D82AD}" destId="{2DC141A4-B592-435C-823C-677788188CBD}" srcOrd="1" destOrd="0" parTransId="{5826039D-93BE-4C3C-BF14-BA91B7E8A1CC}" sibTransId="{C216D1D6-3A84-44F9-B1FF-E74F77D90E6D}"/>
    <dgm:cxn modelId="{7EA694D7-FEFF-4B9D-B80F-663C0EA77549}" srcId="{2DC141A4-B592-435C-823C-677788188CBD}" destId="{223E87BF-8BFA-4539-B616-ECF59C7A60AB}" srcOrd="0" destOrd="0" parTransId="{6673230B-FBEF-4439-B2A7-4E383CCD7B9A}" sibTransId="{4BBBD690-4134-49AB-AC0C-39A005EB0B05}"/>
    <dgm:cxn modelId="{9FACE8C4-1C64-4811-8AA5-79B920E03F3D}" type="presParOf" srcId="{0FEB684E-E113-451E-B492-3E45F5FEF5C1}" destId="{17481383-1DBB-4595-AEFE-D8D1DA23F699}" srcOrd="0" destOrd="0" presId="urn:microsoft.com/office/officeart/2005/8/layout/hList1"/>
    <dgm:cxn modelId="{8E2B1A84-DEC9-46F3-8C87-A91C35D913BA}" type="presParOf" srcId="{17481383-1DBB-4595-AEFE-D8D1DA23F699}" destId="{B77136BE-66B6-43CA-ABD3-5EC058011C77}" srcOrd="0" destOrd="0" presId="urn:microsoft.com/office/officeart/2005/8/layout/hList1"/>
    <dgm:cxn modelId="{B00A2B00-17E6-44E6-B618-3FB32C7AFB44}" type="presParOf" srcId="{17481383-1DBB-4595-AEFE-D8D1DA23F699}" destId="{5A01AD50-A4BE-433F-882C-7262AEE7DECE}" srcOrd="1" destOrd="0" presId="urn:microsoft.com/office/officeart/2005/8/layout/hList1"/>
    <dgm:cxn modelId="{C52ED49F-7DC5-4F4E-A374-ECEF688F93FE}" type="presParOf" srcId="{0FEB684E-E113-451E-B492-3E45F5FEF5C1}" destId="{60AC7C03-037F-4D1B-9634-D54EE3C5640B}" srcOrd="1" destOrd="0" presId="urn:microsoft.com/office/officeart/2005/8/layout/hList1"/>
    <dgm:cxn modelId="{1926ED16-C631-411B-9E2D-9369C6124993}" type="presParOf" srcId="{0FEB684E-E113-451E-B492-3E45F5FEF5C1}" destId="{ECE42E4D-E658-4135-AE0B-4C8C74A989ED}" srcOrd="2" destOrd="0" presId="urn:microsoft.com/office/officeart/2005/8/layout/hList1"/>
    <dgm:cxn modelId="{124FA8D1-8744-444D-95D0-82ED19ED782C}" type="presParOf" srcId="{ECE42E4D-E658-4135-AE0B-4C8C74A989ED}" destId="{88EAAD68-E779-4ABE-A5DA-0983BBEBC27F}" srcOrd="0" destOrd="0" presId="urn:microsoft.com/office/officeart/2005/8/layout/hList1"/>
    <dgm:cxn modelId="{C9AD1A5B-BB02-4DF0-AAB2-D468139070FE}" type="presParOf" srcId="{ECE42E4D-E658-4135-AE0B-4C8C74A989ED}" destId="{E09FF709-B9A1-467B-BBF8-2127A63B2EF3}" srcOrd="1" destOrd="0" presId="urn:microsoft.com/office/officeart/2005/8/layout/hList1"/>
    <dgm:cxn modelId="{81A2037E-E49C-420E-B0F3-45D902E9984A}" type="presParOf" srcId="{0FEB684E-E113-451E-B492-3E45F5FEF5C1}" destId="{9C741542-FC0D-4FA2-8EF6-9DC8D76C0ADD}" srcOrd="3" destOrd="0" presId="urn:microsoft.com/office/officeart/2005/8/layout/hList1"/>
    <dgm:cxn modelId="{9ABED4A7-7BCA-4E36-B8D1-280F415E4344}" type="presParOf" srcId="{0FEB684E-E113-451E-B492-3E45F5FEF5C1}" destId="{16AA0DCF-6F46-4C2E-80CE-761D09CFA840}" srcOrd="4" destOrd="0" presId="urn:microsoft.com/office/officeart/2005/8/layout/hList1"/>
    <dgm:cxn modelId="{1C1442B0-EE24-450A-9817-E2B24E7C6B17}" type="presParOf" srcId="{16AA0DCF-6F46-4C2E-80CE-761D09CFA840}" destId="{F96EBAB5-2385-44A0-9DAE-378482389753}" srcOrd="0" destOrd="0" presId="urn:microsoft.com/office/officeart/2005/8/layout/hList1"/>
    <dgm:cxn modelId="{F1A2D13E-2643-471E-9C8E-4A337A166B1B}" type="presParOf" srcId="{16AA0DCF-6F46-4C2E-80CE-761D09CFA840}" destId="{205221B7-809E-408A-8761-924C5606E94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main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5A8BE3A-9990-4232-8912-110E6E121807}" type="doc">
      <dgm:prSet loTypeId="urn:microsoft.com/office/officeart/2005/8/layout/defaul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0486EE9A-3E6E-43FB-AD24-21CD026C9C41}" type="parTrans" cxnId="{135258DC-34F2-4143-9F55-2766F04F2A1F}">
      <dgm:prSet/>
      <dgm:spPr/>
      <dgm:t>
        <a:bodyPr/>
        <a:lstStyle/>
        <a:p>
          <a:endParaRPr lang="en-US"/>
        </a:p>
      </dgm:t>
    </dgm:pt>
    <dgm:pt modelId="{30B572C5-5221-4FD0-8E3E-DC053333C8C3}">
      <dgm:prSet custT="1"/>
      <dgm:spPr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dad (40 años o más)</a:t>
          </a:r>
          <a:endParaRPr lang="en-US"/>
        </a:p>
      </dgm:t>
    </dgm:pt>
    <dgm:pt modelId="{C98A1F1B-A0C7-43B9-9E01-A003135CB10F}" type="sibTrans" cxnId="{135258DC-34F2-4143-9F55-2766F04F2A1F}">
      <dgm:prSet/>
      <dgm:spPr/>
      <dgm:t>
        <a:bodyPr/>
        <a:lstStyle/>
        <a:p>
          <a:endParaRPr lang="en-US"/>
        </a:p>
      </dgm:t>
    </dgm:pt>
    <dgm:pt modelId="{C650762C-5077-45D8-90A5-966139F10F0D}" type="parTrans" cxnId="{ED3AEAF8-3F26-44A4-9C15-8BDEF9E26275}">
      <dgm:prSet/>
      <dgm:spPr/>
      <dgm:t>
        <a:bodyPr/>
        <a:lstStyle/>
        <a:p>
          <a:endParaRPr lang="en-US"/>
        </a:p>
      </dgm:t>
    </dgm:pt>
    <dgm:pt modelId="{84B79948-5B19-4C78-9BA7-00828FCB7C0C}">
      <dgm:prSet custT="1"/>
      <dgm:spPr>
        <a:solidFill>
          <a:schemeClr val="accent1">
            <a:shade val="80000"/>
            <a:hueOff val="24660"/>
            <a:satOff val="470"/>
            <a:lumOff val="20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aza/color</a:t>
          </a:r>
          <a:endParaRPr lang="en-US"/>
        </a:p>
      </dgm:t>
    </dgm:pt>
    <dgm:pt modelId="{B0A30908-0AEB-414E-B9D4-8F235A79FC3D}" type="sibTrans" cxnId="{ED3AEAF8-3F26-44A4-9C15-8BDEF9E26275}">
      <dgm:prSet/>
      <dgm:spPr/>
      <dgm:t>
        <a:bodyPr/>
        <a:lstStyle/>
        <a:p>
          <a:endParaRPr lang="en-US"/>
        </a:p>
      </dgm:t>
    </dgm:pt>
    <dgm:pt modelId="{265C025C-70C6-4FA8-99B2-955218BA8D42}" type="parTrans" cxnId="{4DAFFF91-F342-41C0-8F29-A966CBFFADE6}">
      <dgm:prSet/>
      <dgm:spPr/>
      <dgm:t>
        <a:bodyPr/>
        <a:lstStyle/>
        <a:p>
          <a:endParaRPr lang="en-US"/>
        </a:p>
      </dgm:t>
    </dgm:pt>
    <dgm:pt modelId="{AA483315-E412-498F-B60E-0DFFBECDA905}">
      <dgm:prSet custT="1"/>
      <dgm:spPr>
        <a:solidFill>
          <a:schemeClr val="accent1">
            <a:shade val="80000"/>
            <a:hueOff val="49321"/>
            <a:satOff val="941"/>
            <a:lumOff val="4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gen nacional/ciudadanía</a:t>
          </a:r>
          <a:endParaRPr lang="en-US"/>
        </a:p>
      </dgm:t>
    </dgm:pt>
    <dgm:pt modelId="{1D3EF33A-9E18-4617-9552-E7C811B5A57C}" type="sibTrans" cxnId="{4DAFFF91-F342-41C0-8F29-A966CBFFADE6}">
      <dgm:prSet/>
      <dgm:spPr/>
      <dgm:t>
        <a:bodyPr/>
        <a:lstStyle/>
        <a:p>
          <a:endParaRPr lang="en-US"/>
        </a:p>
      </dgm:t>
    </dgm:pt>
    <dgm:pt modelId="{E697FD85-26BA-4676-826E-0DDA05BB8786}" type="parTrans" cxnId="{29BC491C-4C16-4E6B-B1E0-1A1BADA89453}">
      <dgm:prSet/>
      <dgm:spPr/>
      <dgm:t>
        <a:bodyPr/>
        <a:lstStyle/>
        <a:p>
          <a:endParaRPr lang="en-US"/>
        </a:p>
      </dgm:t>
    </dgm:pt>
    <dgm:pt modelId="{1A32B718-F6E8-49ED-B712-04CBBA6EA4EA}">
      <dgm:prSet custT="1"/>
      <dgm:spPr>
        <a:solidFill>
          <a:schemeClr val="accent1">
            <a:shade val="80000"/>
            <a:hueOff val="73981"/>
            <a:satOff val="1411"/>
            <a:lumOff val="623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nformación genética</a:t>
          </a:r>
          <a:endParaRPr lang="en-US"/>
        </a:p>
      </dgm:t>
    </dgm:pt>
    <dgm:pt modelId="{2AC6CF8D-EA7B-4E6B-AAA0-36E8122C0BAF}" type="sibTrans" cxnId="{29BC491C-4C16-4E6B-B1E0-1A1BADA89453}">
      <dgm:prSet/>
      <dgm:spPr/>
      <dgm:t>
        <a:bodyPr/>
        <a:lstStyle/>
        <a:p>
          <a:endParaRPr lang="en-US"/>
        </a:p>
      </dgm:t>
    </dgm:pt>
    <dgm:pt modelId="{71FB683F-DBE8-4F7D-BA4C-BDE8C98C24ED}" type="parTrans" cxnId="{B607AF66-7408-4E1B-A55C-98F440B97F4A}">
      <dgm:prSet/>
      <dgm:spPr/>
      <dgm:t>
        <a:bodyPr/>
        <a:lstStyle/>
        <a:p>
          <a:endParaRPr lang="en-US"/>
        </a:p>
      </dgm:t>
    </dgm:pt>
    <dgm:pt modelId="{8E97A603-FEBF-4B61-9C74-AEF3D1F4B7BC}">
      <dgm:prSet custT="1"/>
      <dgm:spPr>
        <a:solidFill>
          <a:schemeClr val="accent1">
            <a:shade val="80000"/>
            <a:hueOff val="98641"/>
            <a:satOff val="1882"/>
            <a:lumOff val="83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ioma</a:t>
          </a:r>
          <a:endParaRPr lang="en-US"/>
        </a:p>
      </dgm:t>
    </dgm:pt>
    <dgm:pt modelId="{8F0B935F-DBF3-4CCD-BF3C-D39AF35CD421}" type="sibTrans" cxnId="{B607AF66-7408-4E1B-A55C-98F440B97F4A}">
      <dgm:prSet/>
      <dgm:spPr/>
      <dgm:t>
        <a:bodyPr/>
        <a:lstStyle/>
        <a:p>
          <a:endParaRPr lang="en-US"/>
        </a:p>
      </dgm:t>
    </dgm:pt>
    <dgm:pt modelId="{2B5865D3-CFDB-4A67-A55A-89F722393BB5}" type="parTrans" cxnId="{1444CFBF-6FBF-47E6-ACC9-2D6AD63DA25B}">
      <dgm:prSet/>
      <dgm:spPr/>
      <dgm:t>
        <a:bodyPr/>
        <a:lstStyle/>
        <a:p>
          <a:endParaRPr lang="en-US"/>
        </a:p>
      </dgm:t>
    </dgm:pt>
    <dgm:pt modelId="{BA24A286-25D9-46BA-BE57-54676FA1E3DF}">
      <dgm:prSet custT="1"/>
      <dgm:spPr>
        <a:solidFill>
          <a:schemeClr val="accent1">
            <a:shade val="80000"/>
            <a:hueOff val="123302"/>
            <a:satOff val="2352"/>
            <a:lumOff val="103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eligión o creencia</a:t>
          </a:r>
          <a:endParaRPr lang="en-US"/>
        </a:p>
      </dgm:t>
    </dgm:pt>
    <dgm:pt modelId="{A34CF339-3BCF-4C8D-A48C-3B167F1D3083}" type="sibTrans" cxnId="{1444CFBF-6FBF-47E6-ACC9-2D6AD63DA25B}">
      <dgm:prSet/>
      <dgm:spPr/>
      <dgm:t>
        <a:bodyPr/>
        <a:lstStyle/>
        <a:p>
          <a:endParaRPr lang="en-US"/>
        </a:p>
      </dgm:t>
    </dgm:pt>
    <dgm:pt modelId="{8B8931D4-C5B0-4122-874C-804A44376DD5}" type="parTrans" cxnId="{4C6514BF-5B05-4BA5-BD21-D48F8639FD77}">
      <dgm:prSet/>
      <dgm:spPr/>
      <dgm:t>
        <a:bodyPr/>
        <a:lstStyle/>
        <a:p>
          <a:endParaRPr lang="en-US"/>
        </a:p>
      </dgm:t>
    </dgm:pt>
    <dgm:pt modelId="{D0895D99-5AA0-4CCE-8B73-FE41472C79C3}">
      <dgm:prSet custT="1"/>
      <dgm:spPr>
        <a:solidFill>
          <a:schemeClr val="accent1">
            <a:shade val="80000"/>
            <a:hueOff val="147962"/>
            <a:satOff val="2823"/>
            <a:lumOff val="124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eas políticas o sindicales</a:t>
          </a:r>
          <a:endParaRPr lang="en-US"/>
        </a:p>
      </dgm:t>
    </dgm:pt>
    <dgm:pt modelId="{4A32E3D9-A3F8-4709-A336-BCF80D717EB0}" type="sibTrans" cxnId="{4C6514BF-5B05-4BA5-BD21-D48F8639FD77}">
      <dgm:prSet/>
      <dgm:spPr/>
      <dgm:t>
        <a:bodyPr/>
        <a:lstStyle/>
        <a:p>
          <a:endParaRPr lang="en-US"/>
        </a:p>
      </dgm:t>
    </dgm:pt>
    <dgm:pt modelId="{D6F1117D-7524-408D-A5EE-39AD838EE339}" type="parTrans" cxnId="{F9B35532-B640-42BB-A252-6D3D497DBBDC}">
      <dgm:prSet/>
      <dgm:spPr/>
      <dgm:t>
        <a:bodyPr/>
        <a:lstStyle/>
        <a:p>
          <a:endParaRPr lang="en-US"/>
        </a:p>
      </dgm:t>
    </dgm:pt>
    <dgm:pt modelId="{96179C8C-1DD2-46BA-9583-4CA22832C5E1}">
      <dgm:prSet custT="1"/>
      <dgm:spPr>
        <a:solidFill>
          <a:schemeClr val="accent1">
            <a:shade val="80000"/>
            <a:hueOff val="172622"/>
            <a:satOff val="3293"/>
            <a:lumOff val="1454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stado de veterano</a:t>
          </a:r>
          <a:endParaRPr lang="en-US"/>
        </a:p>
      </dgm:t>
    </dgm:pt>
    <dgm:pt modelId="{5DC5A7CA-3518-405F-8121-71430A94FFBC}" type="sibTrans" cxnId="{F9B35532-B640-42BB-A252-6D3D497DBBDC}">
      <dgm:prSet/>
      <dgm:spPr/>
      <dgm:t>
        <a:bodyPr/>
        <a:lstStyle/>
        <a:p>
          <a:endParaRPr lang="en-US"/>
        </a:p>
      </dgm:t>
    </dgm:pt>
    <dgm:pt modelId="{AC8A5AFF-175A-4F41-AF35-DBEC5235A8A5}" type="parTrans" cxnId="{4839F8A1-AB6E-4AF4-AA35-28CE4EC5218B}">
      <dgm:prSet/>
      <dgm:spPr/>
      <dgm:t>
        <a:bodyPr/>
        <a:lstStyle/>
        <a:p>
          <a:endParaRPr lang="en-US"/>
        </a:p>
      </dgm:t>
    </dgm:pt>
    <dgm:pt modelId="{6CCC8163-9C03-44DC-8CD0-BE8BB1ECA829}">
      <dgm:prSet custT="1"/>
      <dgm:spPr>
        <a:solidFill>
          <a:schemeClr val="accent1">
            <a:shade val="80000"/>
            <a:hueOff val="197282"/>
            <a:satOff val="3764"/>
            <a:lumOff val="166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xo (incluye embarazo/parto)</a:t>
          </a:r>
        </a:p>
      </dgm:t>
    </dgm:pt>
    <dgm:pt modelId="{C8FCAC15-A25E-40E0-A3EB-7826ADFD9AB3}" type="sibTrans" cxnId="{4839F8A1-AB6E-4AF4-AA35-28CE4EC5218B}">
      <dgm:prSet/>
      <dgm:spPr/>
      <dgm:t>
        <a:bodyPr/>
        <a:lstStyle/>
        <a:p>
          <a:endParaRPr lang="en-US"/>
        </a:p>
      </dgm:t>
    </dgm:pt>
    <dgm:pt modelId="{3BA743DB-F0C7-4C18-8B32-924A3D02F4D8}" type="parTrans" cxnId="{9426EB8D-3BB8-4E99-8AC4-DA59F00F42CF}">
      <dgm:prSet/>
      <dgm:spPr/>
      <dgm:t>
        <a:bodyPr/>
        <a:lstStyle/>
        <a:p>
          <a:endParaRPr lang="en-US"/>
        </a:p>
      </dgm:t>
    </dgm:pt>
    <dgm:pt modelId="{F2479D3B-5491-487C-B349-8B92252484F4}">
      <dgm:prSet custT="1"/>
      <dgm:spPr>
        <a:solidFill>
          <a:schemeClr val="accent1">
            <a:shade val="80000"/>
            <a:hueOff val="221943"/>
            <a:satOff val="4234"/>
            <a:lumOff val="1870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entidad de género</a:t>
          </a:r>
          <a:endParaRPr lang="en-US"/>
        </a:p>
      </dgm:t>
    </dgm:pt>
    <dgm:pt modelId="{88371F9B-07F6-4868-A36C-998E067F5033}" type="sibTrans" cxnId="{9426EB8D-3BB8-4E99-8AC4-DA59F00F42CF}">
      <dgm:prSet/>
      <dgm:spPr/>
      <dgm:t>
        <a:bodyPr/>
        <a:lstStyle/>
        <a:p>
          <a:endParaRPr lang="en-US"/>
        </a:p>
      </dgm:t>
    </dgm:pt>
    <dgm:pt modelId="{A7E3C7F5-9C15-4A8B-8A1C-CED1AEA2A46A}" type="parTrans" cxnId="{88FC3166-0EE6-49A1-AC92-0C724061BC86}">
      <dgm:prSet/>
      <dgm:spPr/>
      <dgm:t>
        <a:bodyPr/>
        <a:lstStyle/>
        <a:p>
          <a:endParaRPr lang="en-US"/>
        </a:p>
      </dgm:t>
    </dgm:pt>
    <dgm:pt modelId="{8F92365D-1570-436B-9D3F-98B02DFD5219}">
      <dgm:prSet custT="1"/>
      <dgm:spPr>
        <a:solidFill>
          <a:schemeClr val="accent1">
            <a:shade val="80000"/>
            <a:hueOff val="246603"/>
            <a:satOff val="4705"/>
            <a:lumOff val="207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Discapacidad física o mental </a:t>
          </a:r>
          <a:endParaRPr lang="en-US"/>
        </a:p>
      </dgm:t>
    </dgm:pt>
    <dgm:pt modelId="{59892764-B9F5-4CE6-A33E-886B13C45D5C}" type="sibTrans" cxnId="{88FC3166-0EE6-49A1-AC92-0C724061BC86}">
      <dgm:prSet/>
      <dgm:spPr/>
      <dgm:t>
        <a:bodyPr/>
        <a:lstStyle/>
        <a:p>
          <a:endParaRPr lang="en-US"/>
        </a:p>
      </dgm:t>
    </dgm:pt>
    <dgm:pt modelId="{CABA8938-F305-40CB-BC7C-E6D2B75C5E50}" type="parTrans" cxnId="{64ED5E2B-866A-45F0-B766-61D3D0A4105D}">
      <dgm:prSet/>
      <dgm:spPr/>
      <dgm:t>
        <a:bodyPr/>
        <a:lstStyle/>
        <a:p>
          <a:endParaRPr lang="en-US"/>
        </a:p>
      </dgm:t>
    </dgm:pt>
    <dgm:pt modelId="{3A4AD095-B8AF-4668-916C-D465093EA655}">
      <dgm:prSet custT="1"/>
      <dgm:spPr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5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entación sexual</a:t>
          </a:r>
          <a:endParaRPr lang="en-US"/>
        </a:p>
      </dgm:t>
    </dgm:pt>
    <dgm:pt modelId="{6DEF558F-1461-40A3-B660-305F6075B3AD}" type="sibTrans" cxnId="{64ED5E2B-866A-45F0-B766-61D3D0A4105D}">
      <dgm:prSet/>
      <dgm:spPr/>
      <dgm:t>
        <a:bodyPr/>
        <a:lstStyle/>
        <a:p>
          <a:endParaRPr lang="en-US"/>
        </a:p>
      </dgm:t>
    </dgm:pt>
    <dgm:pt modelId="{15814E76-000F-4776-B97F-8B899AD44BAC}" type="pres">
      <dgm:prSet presAssocID="{A5A8BE3A-9990-4232-8912-110E6E121807}" presName="diagram" presStyleCnt="0">
        <dgm:presLayoutVars>
          <dgm:dir/>
          <dgm:resizeHandles val="exact"/>
        </dgm:presLayoutVars>
      </dgm:prSet>
      <dgm:spPr/>
    </dgm:pt>
    <dgm:pt modelId="{6956F062-E831-4C9D-8295-EBD859E85986}" type="pres">
      <dgm:prSet presAssocID="{30B572C5-5221-4FD0-8E3E-DC053333C8C3}" presName="node" presStyleLbl="node1" presStyleIdx="0" presStyleCnt="12">
        <dgm:presLayoutVars>
          <dgm:bulletEnabled val="1"/>
        </dgm:presLayoutVars>
      </dgm:prSet>
      <dgm:spPr/>
    </dgm:pt>
    <dgm:pt modelId="{83BE6824-ECE8-467C-8569-E2F8B857E995}" type="pres">
      <dgm:prSet presAssocID="{C98A1F1B-A0C7-43B9-9E01-A003135CB10F}" presName="sibTrans" presStyleCnt="0"/>
      <dgm:spPr/>
    </dgm:pt>
    <dgm:pt modelId="{314BF5E9-6D32-4139-B1EF-52F90BD3589D}" type="pres">
      <dgm:prSet presAssocID="{84B79948-5B19-4C78-9BA7-00828FCB7C0C}" presName="node" presStyleLbl="node1" presStyleIdx="1" presStyleCnt="12">
        <dgm:presLayoutVars>
          <dgm:bulletEnabled val="1"/>
        </dgm:presLayoutVars>
      </dgm:prSet>
      <dgm:spPr/>
    </dgm:pt>
    <dgm:pt modelId="{4877B61D-64F6-4AE7-BC77-59AA8DC2C961}" type="pres">
      <dgm:prSet presAssocID="{B0A30908-0AEB-414E-B9D4-8F235A79FC3D}" presName="sibTrans" presStyleCnt="0"/>
      <dgm:spPr/>
    </dgm:pt>
    <dgm:pt modelId="{65B48DC4-277D-4510-87DB-C69F1B7D6DD3}" type="pres">
      <dgm:prSet presAssocID="{AA483315-E412-498F-B60E-0DFFBECDA905}" presName="node" presStyleLbl="node1" presStyleIdx="2" presStyleCnt="12">
        <dgm:presLayoutVars>
          <dgm:bulletEnabled val="1"/>
        </dgm:presLayoutVars>
      </dgm:prSet>
      <dgm:spPr/>
    </dgm:pt>
    <dgm:pt modelId="{783803F8-6E7F-4EEA-AAD0-483B213E43F0}" type="pres">
      <dgm:prSet presAssocID="{1D3EF33A-9E18-4617-9552-E7C811B5A57C}" presName="sibTrans" presStyleCnt="0"/>
      <dgm:spPr/>
    </dgm:pt>
    <dgm:pt modelId="{C28451D7-32EE-4871-A93E-B1ABC49EF3AC}" type="pres">
      <dgm:prSet presAssocID="{1A32B718-F6E8-49ED-B712-04CBBA6EA4EA}" presName="node" presStyleLbl="node1" presStyleIdx="3" presStyleCnt="12">
        <dgm:presLayoutVars>
          <dgm:bulletEnabled val="1"/>
        </dgm:presLayoutVars>
      </dgm:prSet>
      <dgm:spPr/>
    </dgm:pt>
    <dgm:pt modelId="{A43E9D34-925F-4655-AC4B-A55B519327B9}" type="pres">
      <dgm:prSet presAssocID="{2AC6CF8D-EA7B-4E6B-AAA0-36E8122C0BAF}" presName="sibTrans" presStyleCnt="0"/>
      <dgm:spPr/>
    </dgm:pt>
    <dgm:pt modelId="{B97059E4-569B-439D-ACCE-C703E8EBB9E0}" type="pres">
      <dgm:prSet presAssocID="{8E97A603-FEBF-4B61-9C74-AEF3D1F4B7BC}" presName="node" presStyleLbl="node1" presStyleIdx="4" presStyleCnt="12">
        <dgm:presLayoutVars>
          <dgm:bulletEnabled val="1"/>
        </dgm:presLayoutVars>
      </dgm:prSet>
      <dgm:spPr/>
    </dgm:pt>
    <dgm:pt modelId="{F6EE2DDB-A1DE-4893-B327-CFE95B44129A}" type="pres">
      <dgm:prSet presAssocID="{8F0B935F-DBF3-4CCD-BF3C-D39AF35CD421}" presName="sibTrans" presStyleCnt="0"/>
      <dgm:spPr/>
    </dgm:pt>
    <dgm:pt modelId="{1C95E413-6173-413A-912F-7DA1BB34D98F}" type="pres">
      <dgm:prSet presAssocID="{BA24A286-25D9-46BA-BE57-54676FA1E3DF}" presName="node" presStyleLbl="node1" presStyleIdx="5" presStyleCnt="12">
        <dgm:presLayoutVars>
          <dgm:bulletEnabled val="1"/>
        </dgm:presLayoutVars>
      </dgm:prSet>
      <dgm:spPr/>
    </dgm:pt>
    <dgm:pt modelId="{68AC4E92-8AE2-4175-AC30-74BB205C523D}" type="pres">
      <dgm:prSet presAssocID="{A34CF339-3BCF-4C8D-A48C-3B167F1D3083}" presName="sibTrans" presStyleCnt="0"/>
      <dgm:spPr/>
    </dgm:pt>
    <dgm:pt modelId="{A26D54B5-B4E7-40E8-9B74-824A0E4BCFBB}" type="pres">
      <dgm:prSet presAssocID="{D0895D99-5AA0-4CCE-8B73-FE41472C79C3}" presName="node" presStyleLbl="node1" presStyleIdx="6" presStyleCnt="12">
        <dgm:presLayoutVars>
          <dgm:bulletEnabled val="1"/>
        </dgm:presLayoutVars>
      </dgm:prSet>
      <dgm:spPr/>
    </dgm:pt>
    <dgm:pt modelId="{68EBFB17-CAB3-420D-837A-15718F4AFEC2}" type="pres">
      <dgm:prSet presAssocID="{4A32E3D9-A3F8-4709-A336-BCF80D717EB0}" presName="sibTrans" presStyleCnt="0"/>
      <dgm:spPr/>
    </dgm:pt>
    <dgm:pt modelId="{00672C99-BC32-447E-BE26-36407AA2BDB2}" type="pres">
      <dgm:prSet presAssocID="{96179C8C-1DD2-46BA-9583-4CA22832C5E1}" presName="node" presStyleLbl="node1" presStyleIdx="7" presStyleCnt="12">
        <dgm:presLayoutVars>
          <dgm:bulletEnabled val="1"/>
        </dgm:presLayoutVars>
      </dgm:prSet>
      <dgm:spPr/>
    </dgm:pt>
    <dgm:pt modelId="{04BA77DB-C2CB-4B5C-B33C-74BA13CCFBA4}" type="pres">
      <dgm:prSet presAssocID="{5DC5A7CA-3518-405F-8121-71430A94FFBC}" presName="sibTrans" presStyleCnt="0"/>
      <dgm:spPr/>
    </dgm:pt>
    <dgm:pt modelId="{4CCD97D0-30AC-4C6D-BD06-F8D29050925E}" type="pres">
      <dgm:prSet presAssocID="{6CCC8163-9C03-44DC-8CD0-BE8BB1ECA829}" presName="node" presStyleLbl="node1" presStyleIdx="8" presStyleCnt="12">
        <dgm:presLayoutVars>
          <dgm:bulletEnabled val="1"/>
        </dgm:presLayoutVars>
      </dgm:prSet>
      <dgm:spPr/>
    </dgm:pt>
    <dgm:pt modelId="{F5570305-EA47-43E3-A112-D29B322D979B}" type="pres">
      <dgm:prSet presAssocID="{C8FCAC15-A25E-40E0-A3EB-7826ADFD9AB3}" presName="sibTrans" presStyleCnt="0"/>
      <dgm:spPr/>
    </dgm:pt>
    <dgm:pt modelId="{483AB9CE-7E99-4641-8A28-E74959ABA064}" type="pres">
      <dgm:prSet presAssocID="{F2479D3B-5491-487C-B349-8B92252484F4}" presName="node" presStyleLbl="node1" presStyleIdx="9" presStyleCnt="12">
        <dgm:presLayoutVars>
          <dgm:bulletEnabled val="1"/>
        </dgm:presLayoutVars>
      </dgm:prSet>
      <dgm:spPr/>
    </dgm:pt>
    <dgm:pt modelId="{3ED9C730-58CB-48F6-A44B-7F354F869F48}" type="pres">
      <dgm:prSet presAssocID="{88371F9B-07F6-4868-A36C-998E067F5033}" presName="sibTrans" presStyleCnt="0"/>
      <dgm:spPr/>
    </dgm:pt>
    <dgm:pt modelId="{EAD55615-8E89-44DC-83A8-7C3F87D1D88C}" type="pres">
      <dgm:prSet presAssocID="{8F92365D-1570-436B-9D3F-98B02DFD5219}" presName="node" presStyleLbl="node1" presStyleIdx="10" presStyleCnt="12">
        <dgm:presLayoutVars>
          <dgm:bulletEnabled val="1"/>
        </dgm:presLayoutVars>
      </dgm:prSet>
      <dgm:spPr/>
    </dgm:pt>
    <dgm:pt modelId="{35A960D8-ECEB-4390-9F81-F1AAB2ECC6FC}" type="pres">
      <dgm:prSet presAssocID="{59892764-B9F5-4CE6-A33E-886B13C45D5C}" presName="sibTrans" presStyleCnt="0"/>
      <dgm:spPr/>
    </dgm:pt>
    <dgm:pt modelId="{498343EC-04AC-4CAD-8B5E-ABC16ACC2F20}" type="pres">
      <dgm:prSet presAssocID="{3A4AD095-B8AF-4668-916C-D465093EA655}" presName="node" presStyleLbl="node1" presStyleIdx="11" presStyleCnt="12">
        <dgm:presLayoutVars>
          <dgm:bulletEnabled val="1"/>
        </dgm:presLayoutVars>
      </dgm:prSet>
      <dgm:spPr/>
    </dgm:pt>
  </dgm:ptLst>
  <dgm:cxnLst>
    <dgm:cxn modelId="{270E8E0D-3582-48DE-977D-FE043D6AF2C5}" type="presOf" srcId="{84B79948-5B19-4C78-9BA7-00828FCB7C0C}" destId="{314BF5E9-6D32-4139-B1EF-52F90BD3589D}" srcOrd="0" destOrd="0" presId="urn:microsoft.com/office/officeart/2005/8/layout/default"/>
    <dgm:cxn modelId="{9F99D813-69E2-400B-A0DF-766FE78DBE38}" type="presOf" srcId="{30B572C5-5221-4FD0-8E3E-DC053333C8C3}" destId="{6956F062-E831-4C9D-8295-EBD859E85986}" srcOrd="0" destOrd="0" presId="urn:microsoft.com/office/officeart/2005/8/layout/default"/>
    <dgm:cxn modelId="{29BC491C-4C16-4E6B-B1E0-1A1BADA89453}" srcId="{A5A8BE3A-9990-4232-8912-110E6E121807}" destId="{1A32B718-F6E8-49ED-B712-04CBBA6EA4EA}" srcOrd="3" destOrd="0" parTransId="{E697FD85-26BA-4676-826E-0DDA05BB8786}" sibTransId="{2AC6CF8D-EA7B-4E6B-AAA0-36E8122C0BAF}"/>
    <dgm:cxn modelId="{88222021-6B61-4FFE-8ABA-EB3DAEE1155A}" type="presOf" srcId="{8E97A603-FEBF-4B61-9C74-AEF3D1F4B7BC}" destId="{B97059E4-569B-439D-ACCE-C703E8EBB9E0}" srcOrd="0" destOrd="0" presId="urn:microsoft.com/office/officeart/2005/8/layout/default"/>
    <dgm:cxn modelId="{64ED5E2B-866A-45F0-B766-61D3D0A4105D}" srcId="{A5A8BE3A-9990-4232-8912-110E6E121807}" destId="{3A4AD095-B8AF-4668-916C-D465093EA655}" srcOrd="11" destOrd="0" parTransId="{CABA8938-F305-40CB-BC7C-E6D2B75C5E50}" sibTransId="{6DEF558F-1461-40A3-B660-305F6075B3AD}"/>
    <dgm:cxn modelId="{8B130830-A2E0-43E6-9D18-065B3B078DDD}" type="presOf" srcId="{BA24A286-25D9-46BA-BE57-54676FA1E3DF}" destId="{1C95E413-6173-413A-912F-7DA1BB34D98F}" srcOrd="0" destOrd="0" presId="urn:microsoft.com/office/officeart/2005/8/layout/default"/>
    <dgm:cxn modelId="{F9B35532-B640-42BB-A252-6D3D497DBBDC}" srcId="{A5A8BE3A-9990-4232-8912-110E6E121807}" destId="{96179C8C-1DD2-46BA-9583-4CA22832C5E1}" srcOrd="7" destOrd="0" parTransId="{D6F1117D-7524-408D-A5EE-39AD838EE339}" sibTransId="{5DC5A7CA-3518-405F-8121-71430A94FFBC}"/>
    <dgm:cxn modelId="{88FC3166-0EE6-49A1-AC92-0C724061BC86}" srcId="{A5A8BE3A-9990-4232-8912-110E6E121807}" destId="{8F92365D-1570-436B-9D3F-98B02DFD5219}" srcOrd="10" destOrd="0" parTransId="{A7E3C7F5-9C15-4A8B-8A1C-CED1AEA2A46A}" sibTransId="{59892764-B9F5-4CE6-A33E-886B13C45D5C}"/>
    <dgm:cxn modelId="{B607AF66-7408-4E1B-A55C-98F440B97F4A}" srcId="{A5A8BE3A-9990-4232-8912-110E6E121807}" destId="{8E97A603-FEBF-4B61-9C74-AEF3D1F4B7BC}" srcOrd="4" destOrd="0" parTransId="{71FB683F-DBE8-4F7D-BA4C-BDE8C98C24ED}" sibTransId="{8F0B935F-DBF3-4CCD-BF3C-D39AF35CD421}"/>
    <dgm:cxn modelId="{3F5FCE68-A3A5-46D9-8CED-F06ACC8B15F4}" type="presOf" srcId="{6CCC8163-9C03-44DC-8CD0-BE8BB1ECA829}" destId="{4CCD97D0-30AC-4C6D-BD06-F8D29050925E}" srcOrd="0" destOrd="0" presId="urn:microsoft.com/office/officeart/2005/8/layout/default"/>
    <dgm:cxn modelId="{72314352-8D70-4CB1-BDD1-756E26AC558B}" type="presOf" srcId="{3A4AD095-B8AF-4668-916C-D465093EA655}" destId="{498343EC-04AC-4CAD-8B5E-ABC16ACC2F20}" srcOrd="0" destOrd="0" presId="urn:microsoft.com/office/officeart/2005/8/layout/default"/>
    <dgm:cxn modelId="{EA69237A-D573-4BC8-B262-C3F88893D309}" type="presOf" srcId="{AA483315-E412-498F-B60E-0DFFBECDA905}" destId="{65B48DC4-277D-4510-87DB-C69F1B7D6DD3}" srcOrd="0" destOrd="0" presId="urn:microsoft.com/office/officeart/2005/8/layout/default"/>
    <dgm:cxn modelId="{5B66707C-256E-4FEA-916F-3F050FEBFC48}" type="presOf" srcId="{D0895D99-5AA0-4CCE-8B73-FE41472C79C3}" destId="{A26D54B5-B4E7-40E8-9B74-824A0E4BCFBB}" srcOrd="0" destOrd="0" presId="urn:microsoft.com/office/officeart/2005/8/layout/default"/>
    <dgm:cxn modelId="{9426EB8D-3BB8-4E99-8AC4-DA59F00F42CF}" srcId="{A5A8BE3A-9990-4232-8912-110E6E121807}" destId="{F2479D3B-5491-487C-B349-8B92252484F4}" srcOrd="9" destOrd="0" parTransId="{3BA743DB-F0C7-4C18-8B32-924A3D02F4D8}" sibTransId="{88371F9B-07F6-4868-A36C-998E067F5033}"/>
    <dgm:cxn modelId="{4DAFFF91-F342-41C0-8F29-A966CBFFADE6}" srcId="{A5A8BE3A-9990-4232-8912-110E6E121807}" destId="{AA483315-E412-498F-B60E-0DFFBECDA905}" srcOrd="2" destOrd="0" parTransId="{265C025C-70C6-4FA8-99B2-955218BA8D42}" sibTransId="{1D3EF33A-9E18-4617-9552-E7C811B5A57C}"/>
    <dgm:cxn modelId="{477FA1A1-3EB7-444F-83F4-2409173637A3}" type="presOf" srcId="{A5A8BE3A-9990-4232-8912-110E6E121807}" destId="{15814E76-000F-4776-B97F-8B899AD44BAC}" srcOrd="0" destOrd="0" presId="urn:microsoft.com/office/officeart/2005/8/layout/default"/>
    <dgm:cxn modelId="{96EAEFA1-7E92-44D7-85DD-19A195F102C8}" type="presOf" srcId="{96179C8C-1DD2-46BA-9583-4CA22832C5E1}" destId="{00672C99-BC32-447E-BE26-36407AA2BDB2}" srcOrd="0" destOrd="0" presId="urn:microsoft.com/office/officeart/2005/8/layout/default"/>
    <dgm:cxn modelId="{4839F8A1-AB6E-4AF4-AA35-28CE4EC5218B}" srcId="{A5A8BE3A-9990-4232-8912-110E6E121807}" destId="{6CCC8163-9C03-44DC-8CD0-BE8BB1ECA829}" srcOrd="8" destOrd="0" parTransId="{AC8A5AFF-175A-4F41-AF35-DBEC5235A8A5}" sibTransId="{C8FCAC15-A25E-40E0-A3EB-7826ADFD9AB3}"/>
    <dgm:cxn modelId="{4C6514BF-5B05-4BA5-BD21-D48F8639FD77}" srcId="{A5A8BE3A-9990-4232-8912-110E6E121807}" destId="{D0895D99-5AA0-4CCE-8B73-FE41472C79C3}" srcOrd="6" destOrd="0" parTransId="{8B8931D4-C5B0-4122-874C-804A44376DD5}" sibTransId="{4A32E3D9-A3F8-4709-A336-BCF80D717EB0}"/>
    <dgm:cxn modelId="{1444CFBF-6FBF-47E6-ACC9-2D6AD63DA25B}" srcId="{A5A8BE3A-9990-4232-8912-110E6E121807}" destId="{BA24A286-25D9-46BA-BE57-54676FA1E3DF}" srcOrd="5" destOrd="0" parTransId="{2B5865D3-CFDB-4A67-A55A-89F722393BB5}" sibTransId="{A34CF339-3BCF-4C8D-A48C-3B167F1D3083}"/>
    <dgm:cxn modelId="{731DF2CB-A47A-48E3-93B4-ED4F01D821DF}" type="presOf" srcId="{F2479D3B-5491-487C-B349-8B92252484F4}" destId="{483AB9CE-7E99-4641-8A28-E74959ABA064}" srcOrd="0" destOrd="0" presId="urn:microsoft.com/office/officeart/2005/8/layout/default"/>
    <dgm:cxn modelId="{135258DC-34F2-4143-9F55-2766F04F2A1F}" srcId="{A5A8BE3A-9990-4232-8912-110E6E121807}" destId="{30B572C5-5221-4FD0-8E3E-DC053333C8C3}" srcOrd="0" destOrd="0" parTransId="{0486EE9A-3E6E-43FB-AD24-21CD026C9C41}" sibTransId="{C98A1F1B-A0C7-43B9-9E01-A003135CB10F}"/>
    <dgm:cxn modelId="{D2A4C2E8-6D5F-4762-9F9B-71C17DBA953D}" type="presOf" srcId="{1A32B718-F6E8-49ED-B712-04CBBA6EA4EA}" destId="{C28451D7-32EE-4871-A93E-B1ABC49EF3AC}" srcOrd="0" destOrd="0" presId="urn:microsoft.com/office/officeart/2005/8/layout/default"/>
    <dgm:cxn modelId="{D6005CF8-5B0F-4371-9178-6EB279380D77}" type="presOf" srcId="{8F92365D-1570-436B-9D3F-98B02DFD5219}" destId="{EAD55615-8E89-44DC-83A8-7C3F87D1D88C}" srcOrd="0" destOrd="0" presId="urn:microsoft.com/office/officeart/2005/8/layout/default"/>
    <dgm:cxn modelId="{ED3AEAF8-3F26-44A4-9C15-8BDEF9E26275}" srcId="{A5A8BE3A-9990-4232-8912-110E6E121807}" destId="{84B79948-5B19-4C78-9BA7-00828FCB7C0C}" srcOrd="1" destOrd="0" parTransId="{C650762C-5077-45D8-90A5-966139F10F0D}" sibTransId="{B0A30908-0AEB-414E-B9D4-8F235A79FC3D}"/>
    <dgm:cxn modelId="{5EE45A9C-6405-48DD-A1D4-39130498AC5E}" type="presParOf" srcId="{15814E76-000F-4776-B97F-8B899AD44BAC}" destId="{6956F062-E831-4C9D-8295-EBD859E85986}" srcOrd="0" destOrd="0" presId="urn:microsoft.com/office/officeart/2005/8/layout/default"/>
    <dgm:cxn modelId="{162B1B61-6D9E-4B50-AE4E-FE3E158F9DE2}" type="presParOf" srcId="{15814E76-000F-4776-B97F-8B899AD44BAC}" destId="{83BE6824-ECE8-467C-8569-E2F8B857E995}" srcOrd="1" destOrd="0" presId="urn:microsoft.com/office/officeart/2005/8/layout/default"/>
    <dgm:cxn modelId="{D57A5A64-5179-44C2-9700-EB7CBE6A0EF6}" type="presParOf" srcId="{15814E76-000F-4776-B97F-8B899AD44BAC}" destId="{314BF5E9-6D32-4139-B1EF-52F90BD3589D}" srcOrd="2" destOrd="0" presId="urn:microsoft.com/office/officeart/2005/8/layout/default"/>
    <dgm:cxn modelId="{1ACAC10C-11F0-4F57-B952-2E8E3A40B39B}" type="presParOf" srcId="{15814E76-000F-4776-B97F-8B899AD44BAC}" destId="{4877B61D-64F6-4AE7-BC77-59AA8DC2C961}" srcOrd="3" destOrd="0" presId="urn:microsoft.com/office/officeart/2005/8/layout/default"/>
    <dgm:cxn modelId="{A396D77B-2C58-4ECB-9898-E4E413C71080}" type="presParOf" srcId="{15814E76-000F-4776-B97F-8B899AD44BAC}" destId="{65B48DC4-277D-4510-87DB-C69F1B7D6DD3}" srcOrd="4" destOrd="0" presId="urn:microsoft.com/office/officeart/2005/8/layout/default"/>
    <dgm:cxn modelId="{40A332B3-35B5-447A-8D6E-3951E8234429}" type="presParOf" srcId="{15814E76-000F-4776-B97F-8B899AD44BAC}" destId="{783803F8-6E7F-4EEA-AAD0-483B213E43F0}" srcOrd="5" destOrd="0" presId="urn:microsoft.com/office/officeart/2005/8/layout/default"/>
    <dgm:cxn modelId="{C3C02C39-4668-4DFA-A3DD-67BDC458D1B5}" type="presParOf" srcId="{15814E76-000F-4776-B97F-8B899AD44BAC}" destId="{C28451D7-32EE-4871-A93E-B1ABC49EF3AC}" srcOrd="6" destOrd="0" presId="urn:microsoft.com/office/officeart/2005/8/layout/default"/>
    <dgm:cxn modelId="{FAD1C8DB-278C-4E9B-9511-A4923715F08C}" type="presParOf" srcId="{15814E76-000F-4776-B97F-8B899AD44BAC}" destId="{A43E9D34-925F-4655-AC4B-A55B519327B9}" srcOrd="7" destOrd="0" presId="urn:microsoft.com/office/officeart/2005/8/layout/default"/>
    <dgm:cxn modelId="{C406325F-B683-4B54-8864-A755515991B6}" type="presParOf" srcId="{15814E76-000F-4776-B97F-8B899AD44BAC}" destId="{B97059E4-569B-439D-ACCE-C703E8EBB9E0}" srcOrd="8" destOrd="0" presId="urn:microsoft.com/office/officeart/2005/8/layout/default"/>
    <dgm:cxn modelId="{B9EE59E3-33A3-4D33-A02D-63C4EAF30DDE}" type="presParOf" srcId="{15814E76-000F-4776-B97F-8B899AD44BAC}" destId="{F6EE2DDB-A1DE-4893-B327-CFE95B44129A}" srcOrd="9" destOrd="0" presId="urn:microsoft.com/office/officeart/2005/8/layout/default"/>
    <dgm:cxn modelId="{57FCE728-7AE0-42BC-B749-47C0ED51161F}" type="presParOf" srcId="{15814E76-000F-4776-B97F-8B899AD44BAC}" destId="{1C95E413-6173-413A-912F-7DA1BB34D98F}" srcOrd="10" destOrd="0" presId="urn:microsoft.com/office/officeart/2005/8/layout/default"/>
    <dgm:cxn modelId="{6C6B3298-388B-47B8-A80C-D446E253F613}" type="presParOf" srcId="{15814E76-000F-4776-B97F-8B899AD44BAC}" destId="{68AC4E92-8AE2-4175-AC30-74BB205C523D}" srcOrd="11" destOrd="0" presId="urn:microsoft.com/office/officeart/2005/8/layout/default"/>
    <dgm:cxn modelId="{F17FCBC3-FC50-4BD9-8520-988B0C184B60}" type="presParOf" srcId="{15814E76-000F-4776-B97F-8B899AD44BAC}" destId="{A26D54B5-B4E7-40E8-9B74-824A0E4BCFBB}" srcOrd="12" destOrd="0" presId="urn:microsoft.com/office/officeart/2005/8/layout/default"/>
    <dgm:cxn modelId="{FBEE0F6D-1C6F-4085-B649-0C0932526F81}" type="presParOf" srcId="{15814E76-000F-4776-B97F-8B899AD44BAC}" destId="{68EBFB17-CAB3-420D-837A-15718F4AFEC2}" srcOrd="13" destOrd="0" presId="urn:microsoft.com/office/officeart/2005/8/layout/default"/>
    <dgm:cxn modelId="{0997E871-45A2-4292-B081-76B14DFD2F22}" type="presParOf" srcId="{15814E76-000F-4776-B97F-8B899AD44BAC}" destId="{00672C99-BC32-447E-BE26-36407AA2BDB2}" srcOrd="14" destOrd="0" presId="urn:microsoft.com/office/officeart/2005/8/layout/default"/>
    <dgm:cxn modelId="{44EB30AD-87DB-4037-BC22-3EEED74B2FB4}" type="presParOf" srcId="{15814E76-000F-4776-B97F-8B899AD44BAC}" destId="{04BA77DB-C2CB-4B5C-B33C-74BA13CCFBA4}" srcOrd="15" destOrd="0" presId="urn:microsoft.com/office/officeart/2005/8/layout/default"/>
    <dgm:cxn modelId="{9794F9A5-BCCF-4E11-B33E-BF45B43D9D7C}" type="presParOf" srcId="{15814E76-000F-4776-B97F-8B899AD44BAC}" destId="{4CCD97D0-30AC-4C6D-BD06-F8D29050925E}" srcOrd="16" destOrd="0" presId="urn:microsoft.com/office/officeart/2005/8/layout/default"/>
    <dgm:cxn modelId="{E9D1DBAC-0900-4F53-913F-AB1F24C34880}" type="presParOf" srcId="{15814E76-000F-4776-B97F-8B899AD44BAC}" destId="{F5570305-EA47-43E3-A112-D29B322D979B}" srcOrd="17" destOrd="0" presId="urn:microsoft.com/office/officeart/2005/8/layout/default"/>
    <dgm:cxn modelId="{FEA45855-517E-4BF1-95FB-371896F70637}" type="presParOf" srcId="{15814E76-000F-4776-B97F-8B899AD44BAC}" destId="{483AB9CE-7E99-4641-8A28-E74959ABA064}" srcOrd="18" destOrd="0" presId="urn:microsoft.com/office/officeart/2005/8/layout/default"/>
    <dgm:cxn modelId="{92D8035B-F21F-4E19-B1AE-0EBF1D8A078B}" type="presParOf" srcId="{15814E76-000F-4776-B97F-8B899AD44BAC}" destId="{3ED9C730-58CB-48F6-A44B-7F354F869F48}" srcOrd="19" destOrd="0" presId="urn:microsoft.com/office/officeart/2005/8/layout/default"/>
    <dgm:cxn modelId="{5489401F-B723-4B74-AC29-18100BCB698C}" type="presParOf" srcId="{15814E76-000F-4776-B97F-8B899AD44BAC}" destId="{EAD55615-8E89-44DC-83A8-7C3F87D1D88C}" srcOrd="20" destOrd="0" presId="urn:microsoft.com/office/officeart/2005/8/layout/default"/>
    <dgm:cxn modelId="{DEE11488-B777-4F4D-9AFF-A93DA6724372}" type="presParOf" srcId="{15814E76-000F-4776-B97F-8B899AD44BAC}" destId="{35A960D8-ECEB-4390-9F81-F1AAB2ECC6FC}" srcOrd="21" destOrd="0" presId="urn:microsoft.com/office/officeart/2005/8/layout/default"/>
    <dgm:cxn modelId="{72091DDF-BE02-41F9-987A-C926CAD451B5}" type="presParOf" srcId="{15814E76-000F-4776-B97F-8B899AD44BAC}" destId="{498343EC-04AC-4CAD-8B5E-ABC16ACC2F20}" srcOrd="2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CDF3A72-4E7D-44E7-9126-943CBEB76C39}" type="doc">
      <dgm:prSet loTypeId="urn:microsoft.com/office/officeart/2005/8/layout/hierarchy4" loCatId="hierarchy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E90C112-028F-4005-BE5A-58F1022297C6}" type="parTrans" cxnId="{CB09A8B4-9BDB-4A26-855A-8FF5944B9277}">
      <dgm:prSet/>
      <dgm:spPr/>
      <dgm:t>
        <a:bodyPr/>
        <a:lstStyle/>
        <a:p>
          <a:endParaRPr lang="en-US"/>
        </a:p>
      </dgm:t>
    </dgm:pt>
    <dgm:pt modelId="{E709D1A9-032D-4046-915C-1A3C52F288E6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2800" b="1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El acoso sexual </a:t>
          </a:r>
          <a:r>
            <a:rPr lang="es-LA" sz="28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s una conducta verbal, no verbal o física no deseada de naturaleza sexual que viola la dignidad de una persona.</a:t>
          </a:r>
        </a:p>
        <a:p>
          <a:r>
            <a:rPr lang="es-LA" sz="28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Existen dos tipos diferentes de acoso sexual:</a:t>
          </a:r>
          <a:endParaRPr lang="en-US"/>
        </a:p>
      </dgm:t>
    </dgm:pt>
    <dgm:pt modelId="{D73A1FCF-5D89-4468-800A-D8F31CB13DD3}" type="parTrans" cxnId="{9751117A-60DB-4B8F-99B5-05A381DECA95}">
      <dgm:prSet/>
      <dgm:spPr/>
      <dgm:t>
        <a:bodyPr/>
        <a:lstStyle/>
        <a:p>
          <a:endParaRPr lang="en-US"/>
        </a:p>
      </dgm:t>
    </dgm:pt>
    <dgm:pt modelId="{51D27A79-C8E2-42E1-AC9E-C97553C130EA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400" b="1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Quid Pro Quo</a:t>
          </a:r>
          <a:endParaRPr lang="en-GB">
            <a:solidFill>
              <a:srgbClr val="FF0000"/>
            </a:solidFill>
          </a:endParaRPr>
        </a:p>
        <a:p>
          <a:r>
            <a:rPr lang="es-LA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Quid Pro Quo es latín y significa “esto por eso” y significa basar las decisiones laborales en si alguien acepta o rechaza una conducta sexual no deseada.</a:t>
          </a:r>
        </a:p>
        <a:p>
          <a:r>
            <a:rPr lang="es-LA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Puede implicar una conducta sexualizada, íntima o romántica.</a:t>
          </a:r>
        </a:p>
        <a:p>
          <a:r>
            <a:rPr lang="es-LA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Siempre involucra a gerentes u otras personas en puestos de autoridad. </a:t>
          </a:r>
          <a:endParaRPr lang="en-US"/>
        </a:p>
      </dgm:t>
    </dgm:pt>
    <dgm:pt modelId="{B9D1F81C-EB2C-4FF9-8BBE-58D3F5068E79}" type="sibTrans" cxnId="{9751117A-60DB-4B8F-99B5-05A381DECA95}">
      <dgm:prSet/>
      <dgm:spPr/>
      <dgm:t>
        <a:bodyPr/>
        <a:lstStyle/>
        <a:p>
          <a:endParaRPr lang="en-US"/>
        </a:p>
      </dgm:t>
    </dgm:pt>
    <dgm:pt modelId="{72A70C7C-CE84-4C90-BD05-A83F54C37871}" type="parTrans" cxnId="{204EB815-3F3F-41D1-9123-B8375DD896C1}">
      <dgm:prSet/>
      <dgm:spPr/>
      <dgm:t>
        <a:bodyPr/>
        <a:lstStyle/>
        <a:p>
          <a:endParaRPr lang="en-US"/>
        </a:p>
      </dgm:t>
    </dgm:pt>
    <dgm:pt modelId="{404D2D27-F06D-476A-9332-E8BF77820EE3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400" b="1" i="0" u="sng" strike="noStrike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Entorno de trabajo hostil</a:t>
          </a:r>
          <a:r>
            <a:rPr lang="es-LA" sz="1400" b="0" i="0" strike="noStrike" cap="none" spc="0" baseline="0">
              <a:solidFill>
                <a:srgbClr val="FF0000"/>
              </a:solidFill>
              <a:effectLst/>
              <a:latin typeface="Calibri"/>
              <a:ea typeface="Calibri"/>
              <a:cs typeface="Calibri"/>
            </a:rPr>
            <a:t> </a:t>
          </a:r>
        </a:p>
        <a:p>
          <a:r>
            <a:rPr lang="es-LA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ucta no deseada que crea un entorno laboral intimidante, hostil, degradante, humillante u ofensivo. </a:t>
          </a:r>
        </a:p>
        <a:p>
          <a:r>
            <a:rPr lang="es-LA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uede ser un comportamiento verbal, visual, físico, digital o escrito. </a:t>
          </a:r>
        </a:p>
        <a:p>
          <a:r>
            <a:rPr lang="es-LA" sz="14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ualquier persona, no solo alguien en un puesto de autoridad, puede participar en este tipo de conducta ilegal. </a:t>
          </a:r>
          <a:endParaRPr lang="en-US"/>
        </a:p>
      </dgm:t>
    </dgm:pt>
    <dgm:pt modelId="{EED6236B-CB0B-475F-B61A-A7580C606347}" type="sibTrans" cxnId="{204EB815-3F3F-41D1-9123-B8375DD896C1}">
      <dgm:prSet/>
      <dgm:spPr/>
      <dgm:t>
        <a:bodyPr/>
        <a:lstStyle/>
        <a:p>
          <a:endParaRPr lang="en-US"/>
        </a:p>
      </dgm:t>
    </dgm:pt>
    <dgm:pt modelId="{24DA7CF3-04CE-4B21-BB47-B688A733DCCB}" type="sibTrans" cxnId="{CB09A8B4-9BDB-4A26-855A-8FF5944B9277}">
      <dgm:prSet/>
      <dgm:spPr/>
      <dgm:t>
        <a:bodyPr/>
        <a:lstStyle/>
        <a:p>
          <a:endParaRPr lang="en-US"/>
        </a:p>
      </dgm:t>
    </dgm:pt>
    <dgm:pt modelId="{82C30EA1-251F-44D7-BE08-B40408335ACD}" type="pres">
      <dgm:prSet presAssocID="{3CDF3A72-4E7D-44E7-9126-943CBEB76C39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BB18B46-294A-49A7-B30A-B2315553F715}" type="pres">
      <dgm:prSet presAssocID="{E709D1A9-032D-4046-915C-1A3C52F288E6}" presName="vertOne" presStyleCnt="0"/>
      <dgm:spPr/>
    </dgm:pt>
    <dgm:pt modelId="{F0682F32-5C4B-42CE-AEF9-AB56A3FF7419}" type="pres">
      <dgm:prSet presAssocID="{E709D1A9-032D-4046-915C-1A3C52F288E6}" presName="txOne" presStyleLbl="node0" presStyleIdx="0" presStyleCnt="1">
        <dgm:presLayoutVars>
          <dgm:chPref val="3"/>
        </dgm:presLayoutVars>
      </dgm:prSet>
      <dgm:spPr/>
    </dgm:pt>
    <dgm:pt modelId="{47C39050-60A1-45EB-A1DD-8FA91BF0A74E}" type="pres">
      <dgm:prSet presAssocID="{E709D1A9-032D-4046-915C-1A3C52F288E6}" presName="parTransOne" presStyleCnt="0"/>
      <dgm:spPr/>
    </dgm:pt>
    <dgm:pt modelId="{ED6B47B3-E8E0-457E-AE81-9960865A6ADF}" type="pres">
      <dgm:prSet presAssocID="{E709D1A9-032D-4046-915C-1A3C52F288E6}" presName="horzOne" presStyleCnt="0"/>
      <dgm:spPr/>
    </dgm:pt>
    <dgm:pt modelId="{15624F3B-1895-4B52-823A-54BED7D68C96}" type="pres">
      <dgm:prSet presAssocID="{51D27A79-C8E2-42E1-AC9E-C97553C130EA}" presName="vertTwo" presStyleCnt="0"/>
      <dgm:spPr/>
    </dgm:pt>
    <dgm:pt modelId="{2BBD0B2E-4BE4-48AC-A125-1761F93E54D0}" type="pres">
      <dgm:prSet presAssocID="{51D27A79-C8E2-42E1-AC9E-C97553C130EA}" presName="txTwo" presStyleLbl="node2" presStyleIdx="0" presStyleCnt="2">
        <dgm:presLayoutVars>
          <dgm:chPref val="3"/>
        </dgm:presLayoutVars>
      </dgm:prSet>
      <dgm:spPr/>
    </dgm:pt>
    <dgm:pt modelId="{B6D935AB-6C09-464B-8F9B-2DF172217FA9}" type="pres">
      <dgm:prSet presAssocID="{51D27A79-C8E2-42E1-AC9E-C97553C130EA}" presName="horzTwo" presStyleCnt="0"/>
      <dgm:spPr/>
    </dgm:pt>
    <dgm:pt modelId="{B06879F3-AC6C-40F1-8DBB-CF135CEB9770}" type="pres">
      <dgm:prSet presAssocID="{B9D1F81C-EB2C-4FF9-8BBE-58D3F5068E79}" presName="sibSpaceTwo" presStyleCnt="0"/>
      <dgm:spPr/>
    </dgm:pt>
    <dgm:pt modelId="{0B186A5D-5DB3-4AF4-BCA8-CD369901CAD6}" type="pres">
      <dgm:prSet presAssocID="{404D2D27-F06D-476A-9332-E8BF77820EE3}" presName="vertTwo" presStyleCnt="0"/>
      <dgm:spPr/>
    </dgm:pt>
    <dgm:pt modelId="{88F1ABA4-3573-4291-80C5-CCCD060891F4}" type="pres">
      <dgm:prSet presAssocID="{404D2D27-F06D-476A-9332-E8BF77820EE3}" presName="txTwo" presStyleLbl="node2" presStyleIdx="1" presStyleCnt="2">
        <dgm:presLayoutVars>
          <dgm:chPref val="3"/>
        </dgm:presLayoutVars>
      </dgm:prSet>
      <dgm:spPr/>
    </dgm:pt>
    <dgm:pt modelId="{8B56421F-E0C0-4619-AA40-3517D4B3DB3B}" type="pres">
      <dgm:prSet presAssocID="{404D2D27-F06D-476A-9332-E8BF77820EE3}" presName="horzTwo" presStyleCnt="0"/>
      <dgm:spPr/>
    </dgm:pt>
  </dgm:ptLst>
  <dgm:cxnLst>
    <dgm:cxn modelId="{204EB815-3F3F-41D1-9123-B8375DD896C1}" srcId="{E709D1A9-032D-4046-915C-1A3C52F288E6}" destId="{404D2D27-F06D-476A-9332-E8BF77820EE3}" srcOrd="1" destOrd="0" parTransId="{72A70C7C-CE84-4C90-BD05-A83F54C37871}" sibTransId="{EED6236B-CB0B-475F-B61A-A7580C606347}"/>
    <dgm:cxn modelId="{9751117A-60DB-4B8F-99B5-05A381DECA95}" srcId="{E709D1A9-032D-4046-915C-1A3C52F288E6}" destId="{51D27A79-C8E2-42E1-AC9E-C97553C130EA}" srcOrd="0" destOrd="0" parTransId="{D73A1FCF-5D89-4468-800A-D8F31CB13DD3}" sibTransId="{B9D1F81C-EB2C-4FF9-8BBE-58D3F5068E79}"/>
    <dgm:cxn modelId="{261A3491-5BC4-4191-967C-C015DDAE7BF8}" type="presOf" srcId="{E709D1A9-032D-4046-915C-1A3C52F288E6}" destId="{F0682F32-5C4B-42CE-AEF9-AB56A3FF7419}" srcOrd="0" destOrd="0" presId="urn:microsoft.com/office/officeart/2005/8/layout/hierarchy4"/>
    <dgm:cxn modelId="{CB09A8B4-9BDB-4A26-855A-8FF5944B9277}" srcId="{3CDF3A72-4E7D-44E7-9126-943CBEB76C39}" destId="{E709D1A9-032D-4046-915C-1A3C52F288E6}" srcOrd="0" destOrd="0" parTransId="{CE90C112-028F-4005-BE5A-58F1022297C6}" sibTransId="{24DA7CF3-04CE-4B21-BB47-B688A733DCCB}"/>
    <dgm:cxn modelId="{D31F68C1-CEF3-41DC-A52F-03846FCB20A7}" type="presOf" srcId="{3CDF3A72-4E7D-44E7-9126-943CBEB76C39}" destId="{82C30EA1-251F-44D7-BE08-B40408335ACD}" srcOrd="0" destOrd="0" presId="urn:microsoft.com/office/officeart/2005/8/layout/hierarchy4"/>
    <dgm:cxn modelId="{99766FCB-DE52-4BC5-97AB-839A4F0ED647}" type="presOf" srcId="{51D27A79-C8E2-42E1-AC9E-C97553C130EA}" destId="{2BBD0B2E-4BE4-48AC-A125-1761F93E54D0}" srcOrd="0" destOrd="0" presId="urn:microsoft.com/office/officeart/2005/8/layout/hierarchy4"/>
    <dgm:cxn modelId="{6C544CE5-59EB-46F1-92B9-0A7BEC25BE76}" type="presOf" srcId="{404D2D27-F06D-476A-9332-E8BF77820EE3}" destId="{88F1ABA4-3573-4291-80C5-CCCD060891F4}" srcOrd="0" destOrd="0" presId="urn:microsoft.com/office/officeart/2005/8/layout/hierarchy4"/>
    <dgm:cxn modelId="{C7880E04-C53C-4112-AB72-0A9061CCADBC}" type="presParOf" srcId="{82C30EA1-251F-44D7-BE08-B40408335ACD}" destId="{ABB18B46-294A-49A7-B30A-B2315553F715}" srcOrd="0" destOrd="0" presId="urn:microsoft.com/office/officeart/2005/8/layout/hierarchy4"/>
    <dgm:cxn modelId="{E7045E5D-AFAD-48D5-8B12-5371D38F54BC}" type="presParOf" srcId="{ABB18B46-294A-49A7-B30A-B2315553F715}" destId="{F0682F32-5C4B-42CE-AEF9-AB56A3FF7419}" srcOrd="0" destOrd="0" presId="urn:microsoft.com/office/officeart/2005/8/layout/hierarchy4"/>
    <dgm:cxn modelId="{5C20FD63-4303-4118-881F-C8F60972534B}" type="presParOf" srcId="{ABB18B46-294A-49A7-B30A-B2315553F715}" destId="{47C39050-60A1-45EB-A1DD-8FA91BF0A74E}" srcOrd="1" destOrd="0" presId="urn:microsoft.com/office/officeart/2005/8/layout/hierarchy4"/>
    <dgm:cxn modelId="{6F6246F3-37AD-4675-82FD-5348655654D1}" type="presParOf" srcId="{ABB18B46-294A-49A7-B30A-B2315553F715}" destId="{ED6B47B3-E8E0-457E-AE81-9960865A6ADF}" srcOrd="2" destOrd="0" presId="urn:microsoft.com/office/officeart/2005/8/layout/hierarchy4"/>
    <dgm:cxn modelId="{026010AB-5D44-418F-96CA-3EAA6252086C}" type="presParOf" srcId="{ED6B47B3-E8E0-457E-AE81-9960865A6ADF}" destId="{15624F3B-1895-4B52-823A-54BED7D68C96}" srcOrd="0" destOrd="0" presId="urn:microsoft.com/office/officeart/2005/8/layout/hierarchy4"/>
    <dgm:cxn modelId="{7D701371-AE2F-4F69-84E3-085EC53CC357}" type="presParOf" srcId="{15624F3B-1895-4B52-823A-54BED7D68C96}" destId="{2BBD0B2E-4BE4-48AC-A125-1761F93E54D0}" srcOrd="0" destOrd="0" presId="urn:microsoft.com/office/officeart/2005/8/layout/hierarchy4"/>
    <dgm:cxn modelId="{BD3DD213-A987-4C48-8FBF-4004649D2391}" type="presParOf" srcId="{15624F3B-1895-4B52-823A-54BED7D68C96}" destId="{B6D935AB-6C09-464B-8F9B-2DF172217FA9}" srcOrd="1" destOrd="0" presId="urn:microsoft.com/office/officeart/2005/8/layout/hierarchy4"/>
    <dgm:cxn modelId="{60E791DF-543D-452F-A989-34F534FA967E}" type="presParOf" srcId="{ED6B47B3-E8E0-457E-AE81-9960865A6ADF}" destId="{B06879F3-AC6C-40F1-8DBB-CF135CEB9770}" srcOrd="1" destOrd="0" presId="urn:microsoft.com/office/officeart/2005/8/layout/hierarchy4"/>
    <dgm:cxn modelId="{37979E8F-8856-4149-88FF-A995F3601984}" type="presParOf" srcId="{ED6B47B3-E8E0-457E-AE81-9960865A6ADF}" destId="{0B186A5D-5DB3-4AF4-BCA8-CD369901CAD6}" srcOrd="2" destOrd="0" presId="urn:microsoft.com/office/officeart/2005/8/layout/hierarchy4"/>
    <dgm:cxn modelId="{98AA49EA-84B1-4EFE-B550-B547E0A9C1F7}" type="presParOf" srcId="{0B186A5D-5DB3-4AF4-BCA8-CD369901CAD6}" destId="{88F1ABA4-3573-4291-80C5-CCCD060891F4}" srcOrd="0" destOrd="0" presId="urn:microsoft.com/office/officeart/2005/8/layout/hierarchy4"/>
    <dgm:cxn modelId="{63311282-1CB2-4529-B81E-D30416A62BF4}" type="presParOf" srcId="{0B186A5D-5DB3-4AF4-BCA8-CD369901CAD6}" destId="{8B56421F-E0C0-4619-AA40-3517D4B3DB3B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8179FEE-AD99-4ACA-935F-5EA74350364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CEB55FE-D4C3-4C96-A765-B1B2DE801E09}" type="parTrans" cxnId="{5EE35324-E02E-44A2-84AA-9490378F7581}">
      <dgm:prSet/>
      <dgm:spPr/>
      <dgm:t>
        <a:bodyPr/>
        <a:lstStyle/>
        <a:p>
          <a:endParaRPr lang="en-US"/>
        </a:p>
      </dgm:t>
    </dgm:pt>
    <dgm:pt modelId="{285BBEBE-0734-4A0A-AC7C-BCC18058FA1C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n entorno de trabajo hostil puede implicar:</a:t>
          </a:r>
          <a:endParaRPr lang="en-US"/>
        </a:p>
      </dgm:t>
    </dgm:pt>
    <dgm:pt modelId="{42D87832-43F4-4BBA-AC18-2696167CC65A}" type="parTrans" cxnId="{66E2FA06-BB35-4423-8DD9-FFD15D26CDC1}">
      <dgm:prSet/>
      <dgm:spPr/>
      <dgm:t>
        <a:bodyPr/>
        <a:lstStyle/>
        <a:p>
          <a:endParaRPr lang="en-US"/>
        </a:p>
      </dgm:t>
    </dgm:pt>
    <dgm:pt modelId="{30D3E5F8-452C-48F4-8796-2E567C55EECB}">
      <dgm:prSet custT="1"/>
      <dgm:spPr>
        <a:noFill/>
        <a:ln>
          <a:noFill/>
        </a:ln>
      </dgm:spPr>
      <dgm:t>
        <a:bodyPr/>
        <a:lstStyle/>
        <a:p>
          <a:r>
            <a:rPr lang="es-LA" sz="2000" b="0" i="0" strike="noStrike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Un solo incidente grave</a:t>
          </a:r>
          <a:endParaRPr lang="en-US" sz="2000" dirty="0"/>
        </a:p>
      </dgm:t>
    </dgm:pt>
    <dgm:pt modelId="{295691BB-E9F3-4CE3-9494-876350D324AA}" type="sibTrans" cxnId="{66E2FA06-BB35-4423-8DD9-FFD15D26CDC1}">
      <dgm:prSet/>
      <dgm:spPr/>
      <dgm:t>
        <a:bodyPr/>
        <a:lstStyle/>
        <a:p>
          <a:endParaRPr lang="en-US"/>
        </a:p>
      </dgm:t>
    </dgm:pt>
    <dgm:pt modelId="{579DADD7-F02E-4DDF-A6ED-B478DE045EC5}" type="parTrans" cxnId="{EB715246-AF89-4D37-91C8-F7A01CB00D19}">
      <dgm:prSet/>
      <dgm:spPr/>
      <dgm:t>
        <a:bodyPr/>
        <a:lstStyle/>
        <a:p>
          <a:endParaRPr lang="en-US"/>
        </a:p>
      </dgm:t>
    </dgm:pt>
    <dgm:pt modelId="{5642C7EE-3FA5-48FC-90AC-17A317932B02}">
      <dgm:prSet custT="1"/>
      <dgm:spPr>
        <a:noFill/>
        <a:ln>
          <a:noFill/>
        </a:ln>
      </dgm:spPr>
      <dgm:t>
        <a:bodyPr/>
        <a:lstStyle/>
        <a:p>
          <a:r>
            <a:rPr lang="es-LA" sz="2000" b="0" i="0" strike="noStrike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Un patrón de incidentes más pequeños que se acumulan con el tiempo</a:t>
          </a:r>
          <a:endParaRPr lang="en-US" sz="2000" dirty="0"/>
        </a:p>
      </dgm:t>
    </dgm:pt>
    <dgm:pt modelId="{E3775CD1-D340-4E93-990E-06E64EF14947}" type="sibTrans" cxnId="{EB715246-AF89-4D37-91C8-F7A01CB00D19}">
      <dgm:prSet/>
      <dgm:spPr/>
      <dgm:t>
        <a:bodyPr/>
        <a:lstStyle/>
        <a:p>
          <a:endParaRPr lang="en-US"/>
        </a:p>
      </dgm:t>
    </dgm:pt>
    <dgm:pt modelId="{CD81B35C-B2B0-4868-BBD5-6826E5EEF160}" type="sibTrans" cxnId="{5EE35324-E02E-44A2-84AA-9490378F7581}">
      <dgm:prSet/>
      <dgm:spPr/>
      <dgm:t>
        <a:bodyPr/>
        <a:lstStyle/>
        <a:p>
          <a:endParaRPr lang="en-US"/>
        </a:p>
      </dgm:t>
    </dgm:pt>
    <dgm:pt modelId="{189A9E5F-C66B-4AAA-B987-7459E9AD8F08}" type="parTrans" cxnId="{4BC06B5C-C1EF-452F-AFCB-5BD80A634F94}">
      <dgm:prSet/>
      <dgm:spPr/>
      <dgm:t>
        <a:bodyPr/>
        <a:lstStyle/>
        <a:p>
          <a:endParaRPr lang="en-US"/>
        </a:p>
      </dgm:t>
    </dgm:pt>
    <dgm:pt modelId="{BF4022B4-D80B-461E-98CB-999DC58D8A83}">
      <dgm:prSet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n patrón de conducta puede ser invisible para los demás </a:t>
          </a:r>
          <a:endParaRPr lang="en-US"/>
        </a:p>
      </dgm:t>
    </dgm:pt>
    <dgm:pt modelId="{B70CA4F2-DAD3-4114-9B42-94805D0B5735}" type="sibTrans" cxnId="{4BC06B5C-C1EF-452F-AFCB-5BD80A634F94}">
      <dgm:prSet/>
      <dgm:spPr/>
      <dgm:t>
        <a:bodyPr/>
        <a:lstStyle/>
        <a:p>
          <a:endParaRPr lang="en-US"/>
        </a:p>
      </dgm:t>
    </dgm:pt>
    <dgm:pt modelId="{224BE479-252F-4F35-B3B6-464E3B7105C1}">
      <dgm:prSet custT="1"/>
      <dgm:spPr>
        <a:noFill/>
        <a:ln>
          <a:noFill/>
        </a:ln>
      </dgm:spPr>
      <dgm:t>
        <a:bodyPr/>
        <a:lstStyle/>
        <a:p>
          <a:endParaRPr lang="en-US" sz="2000" dirty="0"/>
        </a:p>
      </dgm:t>
    </dgm:pt>
    <dgm:pt modelId="{A860B247-BC84-48D9-A07A-0243BA3932A5}" type="parTrans" cxnId="{B54E3D88-5200-4A01-A7C2-0A11AAEC0B22}">
      <dgm:prSet/>
      <dgm:spPr/>
      <dgm:t>
        <a:bodyPr/>
        <a:lstStyle/>
        <a:p>
          <a:endParaRPr lang="en-US"/>
        </a:p>
      </dgm:t>
    </dgm:pt>
    <dgm:pt modelId="{B8BB7BDD-24B9-4319-BF64-F0D9572F6D6C}" type="sibTrans" cxnId="{B54E3D88-5200-4A01-A7C2-0A11AAEC0B22}">
      <dgm:prSet/>
      <dgm:spPr/>
      <dgm:t>
        <a:bodyPr/>
        <a:lstStyle/>
        <a:p>
          <a:endParaRPr lang="en-US"/>
        </a:p>
      </dgm:t>
    </dgm:pt>
    <dgm:pt modelId="{3BF44B03-DF2D-4D64-A3F2-5799B0E59223}" type="pres">
      <dgm:prSet presAssocID="{98179FEE-AD99-4ACA-935F-5EA74350364A}" presName="linear" presStyleCnt="0">
        <dgm:presLayoutVars>
          <dgm:animLvl val="lvl"/>
          <dgm:resizeHandles val="exact"/>
        </dgm:presLayoutVars>
      </dgm:prSet>
      <dgm:spPr/>
    </dgm:pt>
    <dgm:pt modelId="{9348B920-B1E0-4886-9BA5-B1554C666682}" type="pres">
      <dgm:prSet presAssocID="{285BBEBE-0734-4A0A-AC7C-BCC18058FA1C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7652FA92-FF02-4F9E-A627-EE14DD86AB00}" type="pres">
      <dgm:prSet presAssocID="{285BBEBE-0734-4A0A-AC7C-BCC18058FA1C}" presName="childText" presStyleLbl="revTx" presStyleIdx="0" presStyleCnt="1">
        <dgm:presLayoutVars>
          <dgm:bulletEnabled val="1"/>
        </dgm:presLayoutVars>
      </dgm:prSet>
      <dgm:spPr/>
    </dgm:pt>
    <dgm:pt modelId="{33BCEC26-C14D-4C1B-A0A8-57892C4646B9}" type="pres">
      <dgm:prSet presAssocID="{BF4022B4-D80B-461E-98CB-999DC58D8A83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4702C406-2310-4C84-8A3F-73E74EF6C733}" type="presOf" srcId="{285BBEBE-0734-4A0A-AC7C-BCC18058FA1C}" destId="{9348B920-B1E0-4886-9BA5-B1554C666682}" srcOrd="0" destOrd="0" presId="urn:microsoft.com/office/officeart/2005/8/layout/vList2"/>
    <dgm:cxn modelId="{66E2FA06-BB35-4423-8DD9-FFD15D26CDC1}" srcId="{285BBEBE-0734-4A0A-AC7C-BCC18058FA1C}" destId="{30D3E5F8-452C-48F4-8796-2E567C55EECB}" srcOrd="0" destOrd="0" parTransId="{42D87832-43F4-4BBA-AC18-2696167CC65A}" sibTransId="{295691BB-E9F3-4CE3-9494-876350D324AA}"/>
    <dgm:cxn modelId="{5EE35324-E02E-44A2-84AA-9490378F7581}" srcId="{98179FEE-AD99-4ACA-935F-5EA74350364A}" destId="{285BBEBE-0734-4A0A-AC7C-BCC18058FA1C}" srcOrd="0" destOrd="0" parTransId="{9CEB55FE-D4C3-4C96-A765-B1B2DE801E09}" sibTransId="{CD81B35C-B2B0-4868-BBD5-6826E5EEF160}"/>
    <dgm:cxn modelId="{A3D5CB2B-42B3-47E8-9A5B-0C1E6EE2FD99}" type="presOf" srcId="{30D3E5F8-452C-48F4-8796-2E567C55EECB}" destId="{7652FA92-FF02-4F9E-A627-EE14DD86AB00}" srcOrd="0" destOrd="0" presId="urn:microsoft.com/office/officeart/2005/8/layout/vList2"/>
    <dgm:cxn modelId="{4BC06B5C-C1EF-452F-AFCB-5BD80A634F94}" srcId="{98179FEE-AD99-4ACA-935F-5EA74350364A}" destId="{BF4022B4-D80B-461E-98CB-999DC58D8A83}" srcOrd="1" destOrd="0" parTransId="{189A9E5F-C66B-4AAA-B987-7459E9AD8F08}" sibTransId="{B70CA4F2-DAD3-4114-9B42-94805D0B5735}"/>
    <dgm:cxn modelId="{8EC0DC61-9B6D-4DB2-9075-C79FAD350CA3}" type="presOf" srcId="{BF4022B4-D80B-461E-98CB-999DC58D8A83}" destId="{33BCEC26-C14D-4C1B-A0A8-57892C4646B9}" srcOrd="0" destOrd="0" presId="urn:microsoft.com/office/officeart/2005/8/layout/vList2"/>
    <dgm:cxn modelId="{EB715246-AF89-4D37-91C8-F7A01CB00D19}" srcId="{285BBEBE-0734-4A0A-AC7C-BCC18058FA1C}" destId="{5642C7EE-3FA5-48FC-90AC-17A317932B02}" srcOrd="1" destOrd="0" parTransId="{579DADD7-F02E-4DDF-A6ED-B478DE045EC5}" sibTransId="{E3775CD1-D340-4E93-990E-06E64EF14947}"/>
    <dgm:cxn modelId="{85E2B87A-40A0-4B10-981D-06AF4ACECA88}" type="presOf" srcId="{5642C7EE-3FA5-48FC-90AC-17A317932B02}" destId="{7652FA92-FF02-4F9E-A627-EE14DD86AB00}" srcOrd="0" destOrd="1" presId="urn:microsoft.com/office/officeart/2005/8/layout/vList2"/>
    <dgm:cxn modelId="{B54E3D88-5200-4A01-A7C2-0A11AAEC0B22}" srcId="{285BBEBE-0734-4A0A-AC7C-BCC18058FA1C}" destId="{224BE479-252F-4F35-B3B6-464E3B7105C1}" srcOrd="2" destOrd="0" parTransId="{A860B247-BC84-48D9-A07A-0243BA3932A5}" sibTransId="{B8BB7BDD-24B9-4319-BF64-F0D9572F6D6C}"/>
    <dgm:cxn modelId="{54E4F8AD-0696-4520-BF2C-7AC7B4CC3554}" type="presOf" srcId="{224BE479-252F-4F35-B3B6-464E3B7105C1}" destId="{7652FA92-FF02-4F9E-A627-EE14DD86AB00}" srcOrd="0" destOrd="2" presId="urn:microsoft.com/office/officeart/2005/8/layout/vList2"/>
    <dgm:cxn modelId="{33B48ABA-5B2C-434D-AB9E-365275170C8E}" type="presOf" srcId="{98179FEE-AD99-4ACA-935F-5EA74350364A}" destId="{3BF44B03-DF2D-4D64-A3F2-5799B0E59223}" srcOrd="0" destOrd="0" presId="urn:microsoft.com/office/officeart/2005/8/layout/vList2"/>
    <dgm:cxn modelId="{8A02FDDD-9D4C-4786-991E-41EA7CEAA758}" type="presParOf" srcId="{3BF44B03-DF2D-4D64-A3F2-5799B0E59223}" destId="{9348B920-B1E0-4886-9BA5-B1554C666682}" srcOrd="0" destOrd="0" presId="urn:microsoft.com/office/officeart/2005/8/layout/vList2"/>
    <dgm:cxn modelId="{63A83004-DCB1-4D21-B330-E5C6A9EBB8D9}" type="presParOf" srcId="{3BF44B03-DF2D-4D64-A3F2-5799B0E59223}" destId="{7652FA92-FF02-4F9E-A627-EE14DD86AB00}" srcOrd="1" destOrd="0" presId="urn:microsoft.com/office/officeart/2005/8/layout/vList2"/>
    <dgm:cxn modelId="{023CB640-1E30-439C-807E-C1073641C92B}" type="presParOf" srcId="{3BF44B03-DF2D-4D64-A3F2-5799B0E59223}" destId="{33BCEC26-C14D-4C1B-A0A8-57892C4646B9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58039EE-AE95-403B-AC13-37ADF24CD098}" type="doc">
      <dgm:prSet loTypeId="urn:microsoft.com/office/officeart/2009/3/layout/HorizontalOrganizationChart" loCatId="hierarchy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1A2282E7-E75F-4CBB-B6CA-E288DAE36888}" type="parTrans" cxnId="{4FC53704-2B79-4D0A-981C-FECCE1BBA933}">
      <dgm:prSet/>
      <dgm:spPr/>
      <dgm:t>
        <a:bodyPr/>
        <a:lstStyle/>
        <a:p>
          <a:endParaRPr lang="en-US"/>
        </a:p>
      </dgm:t>
    </dgm:pt>
    <dgm:pt modelId="{4EC82B13-A762-48C6-B64B-E54C118DD79C}">
      <dgm:prSet custT="1"/>
      <dgm:spPr/>
      <dgm:t>
        <a:bodyPr/>
        <a:lstStyle/>
        <a:p>
          <a:r>
            <a:rPr lang="es-LA" sz="32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Los estereotipos de género son ideas preconcebidas sobre cómo alguien debe ser, actuar o comportarse en función de su género</a:t>
          </a:r>
          <a:r>
            <a:rPr lang="es-LA" sz="35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. </a:t>
          </a:r>
          <a:endParaRPr lang="en-US" sz="3150" dirty="0"/>
        </a:p>
      </dgm:t>
    </dgm:pt>
    <dgm:pt modelId="{CB7DC1B6-385A-4B8E-BF6A-03802530089F}" type="sibTrans" cxnId="{4FC53704-2B79-4D0A-981C-FECCE1BBA933}">
      <dgm:prSet/>
      <dgm:spPr/>
      <dgm:t>
        <a:bodyPr/>
        <a:lstStyle/>
        <a:p>
          <a:endParaRPr lang="en-US"/>
        </a:p>
      </dgm:t>
    </dgm:pt>
    <dgm:pt modelId="{988ADC6B-3C2E-4E0C-89A0-794AD8D901E9}" type="parTrans" cxnId="{A164A3FB-5D5C-4CA7-AABE-CC4E13ADAC41}">
      <dgm:prSet/>
      <dgm:spPr/>
      <dgm:t>
        <a:bodyPr/>
        <a:lstStyle/>
        <a:p>
          <a:endParaRPr lang="en-US"/>
        </a:p>
      </dgm:t>
    </dgm:pt>
    <dgm:pt modelId="{C0B314DE-8C9A-4622-9124-4EAC4C631C63}">
      <dgm:prSet custT="1"/>
      <dgm:spPr/>
      <dgm:t>
        <a:bodyPr/>
        <a:lstStyle/>
        <a:p>
          <a:r>
            <a:rPr lang="es-LA" sz="32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r ejemplo:  </a:t>
          </a:r>
          <a:r>
            <a:rPr lang="es-LA" sz="3200" b="0" i="0" u="sng" strike="noStrike" cap="none" spc="0" baseline="0" dirty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Solo</a:t>
          </a:r>
          <a:r>
            <a:rPr lang="es-LA" sz="32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pide a las empleadas que obtengan café y refrigerios para la sala de conferencias para la próxima reunión</a:t>
          </a:r>
          <a:r>
            <a:rPr lang="es-LA" sz="35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.</a:t>
          </a:r>
          <a:endParaRPr lang="en-US" sz="3150" dirty="0"/>
        </a:p>
      </dgm:t>
    </dgm:pt>
    <dgm:pt modelId="{A52C1081-60BD-40F3-8777-F01D735B8ADD}" type="sibTrans" cxnId="{A164A3FB-5D5C-4CA7-AABE-CC4E13ADAC41}">
      <dgm:prSet/>
      <dgm:spPr/>
      <dgm:t>
        <a:bodyPr/>
        <a:lstStyle/>
        <a:p>
          <a:endParaRPr lang="en-US"/>
        </a:p>
      </dgm:t>
    </dgm:pt>
    <dgm:pt modelId="{D897512D-1C5A-425D-A4CA-5FD67064C449}" type="pres">
      <dgm:prSet presAssocID="{F58039EE-AE95-403B-AC13-37ADF24CD09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2A15FFC2-0A3D-49A0-A616-0230EDFF10F9}" type="pres">
      <dgm:prSet presAssocID="{4EC82B13-A762-48C6-B64B-E54C118DD79C}" presName="hierRoot1" presStyleCnt="0">
        <dgm:presLayoutVars>
          <dgm:hierBranch val="init"/>
        </dgm:presLayoutVars>
      </dgm:prSet>
      <dgm:spPr/>
    </dgm:pt>
    <dgm:pt modelId="{19D8EA44-4891-4876-A3FD-75C069271127}" type="pres">
      <dgm:prSet presAssocID="{4EC82B13-A762-48C6-B64B-E54C118DD79C}" presName="rootComposite1" presStyleCnt="0"/>
      <dgm:spPr/>
    </dgm:pt>
    <dgm:pt modelId="{4EDE4789-F2C4-48F7-AD1A-1BC4182425B9}" type="pres">
      <dgm:prSet presAssocID="{4EC82B13-A762-48C6-B64B-E54C118DD79C}" presName="rootText1" presStyleLbl="node0" presStyleIdx="0" presStyleCnt="2">
        <dgm:presLayoutVars>
          <dgm:chPref val="3"/>
        </dgm:presLayoutVars>
      </dgm:prSet>
      <dgm:spPr/>
    </dgm:pt>
    <dgm:pt modelId="{5C8871E6-F55F-4AAC-9444-953BDC8BFF40}" type="pres">
      <dgm:prSet presAssocID="{4EC82B13-A762-48C6-B64B-E54C118DD79C}" presName="rootConnector1" presStyleLbl="node1" presStyleIdx="0" presStyleCnt="0"/>
      <dgm:spPr/>
    </dgm:pt>
    <dgm:pt modelId="{21E6A1A2-09CA-4457-8704-98B51B2825B1}" type="pres">
      <dgm:prSet presAssocID="{4EC82B13-A762-48C6-B64B-E54C118DD79C}" presName="hierChild2" presStyleCnt="0"/>
      <dgm:spPr/>
    </dgm:pt>
    <dgm:pt modelId="{08E6EC52-31E3-4246-B7D1-AE148E6A9594}" type="pres">
      <dgm:prSet presAssocID="{4EC82B13-A762-48C6-B64B-E54C118DD79C}" presName="hierChild3" presStyleCnt="0"/>
      <dgm:spPr/>
    </dgm:pt>
    <dgm:pt modelId="{641A1FB8-31EA-4400-89B2-B84BF9876F04}" type="pres">
      <dgm:prSet presAssocID="{C0B314DE-8C9A-4622-9124-4EAC4C631C63}" presName="hierRoot1" presStyleCnt="0">
        <dgm:presLayoutVars>
          <dgm:hierBranch val="init"/>
        </dgm:presLayoutVars>
      </dgm:prSet>
      <dgm:spPr/>
    </dgm:pt>
    <dgm:pt modelId="{2215DDD9-40C1-42ED-8100-DA0EF97500ED}" type="pres">
      <dgm:prSet presAssocID="{C0B314DE-8C9A-4622-9124-4EAC4C631C63}" presName="rootComposite1" presStyleCnt="0"/>
      <dgm:spPr/>
    </dgm:pt>
    <dgm:pt modelId="{C106FE37-78FC-4B91-AB63-2959EC40C132}" type="pres">
      <dgm:prSet presAssocID="{C0B314DE-8C9A-4622-9124-4EAC4C631C63}" presName="rootText1" presStyleLbl="node0" presStyleIdx="1" presStyleCnt="2">
        <dgm:presLayoutVars>
          <dgm:chPref val="3"/>
        </dgm:presLayoutVars>
      </dgm:prSet>
      <dgm:spPr/>
    </dgm:pt>
    <dgm:pt modelId="{860FFD42-6009-4881-8CA6-B334DA9A8178}" type="pres">
      <dgm:prSet presAssocID="{C0B314DE-8C9A-4622-9124-4EAC4C631C63}" presName="rootConnector1" presStyleLbl="node1" presStyleIdx="0" presStyleCnt="0"/>
      <dgm:spPr/>
    </dgm:pt>
    <dgm:pt modelId="{5CBC7A73-AC05-40F3-8431-9DC6AC782F09}" type="pres">
      <dgm:prSet presAssocID="{C0B314DE-8C9A-4622-9124-4EAC4C631C63}" presName="hierChild2" presStyleCnt="0"/>
      <dgm:spPr/>
    </dgm:pt>
    <dgm:pt modelId="{BCE2ECC5-6A04-4163-8498-00F0736A2636}" type="pres">
      <dgm:prSet presAssocID="{C0B314DE-8C9A-4622-9124-4EAC4C631C63}" presName="hierChild3" presStyleCnt="0"/>
      <dgm:spPr/>
    </dgm:pt>
  </dgm:ptLst>
  <dgm:cxnLst>
    <dgm:cxn modelId="{4FC53704-2B79-4D0A-981C-FECCE1BBA933}" srcId="{F58039EE-AE95-403B-AC13-37ADF24CD098}" destId="{4EC82B13-A762-48C6-B64B-E54C118DD79C}" srcOrd="0" destOrd="0" parTransId="{1A2282E7-E75F-4CBB-B6CA-E288DAE36888}" sibTransId="{CB7DC1B6-385A-4B8E-BF6A-03802530089F}"/>
    <dgm:cxn modelId="{1E022D0D-47AC-45E6-898A-DF3DDAD18E47}" type="presOf" srcId="{4EC82B13-A762-48C6-B64B-E54C118DD79C}" destId="{4EDE4789-F2C4-48F7-AD1A-1BC4182425B9}" srcOrd="0" destOrd="0" presId="urn:microsoft.com/office/officeart/2009/3/layout/HorizontalOrganizationChart"/>
    <dgm:cxn modelId="{AA6E9C1C-77C5-41E6-B938-70DAE5C65360}" type="presOf" srcId="{F58039EE-AE95-403B-AC13-37ADF24CD098}" destId="{D897512D-1C5A-425D-A4CA-5FD67064C449}" srcOrd="0" destOrd="0" presId="urn:microsoft.com/office/officeart/2009/3/layout/HorizontalOrganizationChart"/>
    <dgm:cxn modelId="{2C30D562-A084-4DA6-B11C-B951AE61345D}" type="presOf" srcId="{C0B314DE-8C9A-4622-9124-4EAC4C631C63}" destId="{C106FE37-78FC-4B91-AB63-2959EC40C132}" srcOrd="0" destOrd="0" presId="urn:microsoft.com/office/officeart/2009/3/layout/HorizontalOrganizationChart"/>
    <dgm:cxn modelId="{EB17C9D5-E450-45A3-9A23-253CDE9CE139}" type="presOf" srcId="{C0B314DE-8C9A-4622-9124-4EAC4C631C63}" destId="{860FFD42-6009-4881-8CA6-B334DA9A8178}" srcOrd="1" destOrd="0" presId="urn:microsoft.com/office/officeart/2009/3/layout/HorizontalOrganizationChart"/>
    <dgm:cxn modelId="{D96B0ED6-AA89-4FC9-A793-586B89DE8AD2}" type="presOf" srcId="{4EC82B13-A762-48C6-B64B-E54C118DD79C}" destId="{5C8871E6-F55F-4AAC-9444-953BDC8BFF40}" srcOrd="1" destOrd="0" presId="urn:microsoft.com/office/officeart/2009/3/layout/HorizontalOrganizationChart"/>
    <dgm:cxn modelId="{A164A3FB-5D5C-4CA7-AABE-CC4E13ADAC41}" srcId="{F58039EE-AE95-403B-AC13-37ADF24CD098}" destId="{C0B314DE-8C9A-4622-9124-4EAC4C631C63}" srcOrd="1" destOrd="0" parTransId="{988ADC6B-3C2E-4E0C-89A0-794AD8D901E9}" sibTransId="{A52C1081-60BD-40F3-8777-F01D735B8ADD}"/>
    <dgm:cxn modelId="{38E02A19-E565-44C6-806A-19ED9B4E69B6}" type="presParOf" srcId="{D897512D-1C5A-425D-A4CA-5FD67064C449}" destId="{2A15FFC2-0A3D-49A0-A616-0230EDFF10F9}" srcOrd="0" destOrd="0" presId="urn:microsoft.com/office/officeart/2009/3/layout/HorizontalOrganizationChart"/>
    <dgm:cxn modelId="{E144BDA8-5D87-4E60-AFF5-3CE4BBCB1059}" type="presParOf" srcId="{2A15FFC2-0A3D-49A0-A616-0230EDFF10F9}" destId="{19D8EA44-4891-4876-A3FD-75C069271127}" srcOrd="0" destOrd="0" presId="urn:microsoft.com/office/officeart/2009/3/layout/HorizontalOrganizationChart"/>
    <dgm:cxn modelId="{6AED1943-BAAC-4CF3-8E10-A45EDC233A22}" type="presParOf" srcId="{19D8EA44-4891-4876-A3FD-75C069271127}" destId="{4EDE4789-F2C4-48F7-AD1A-1BC4182425B9}" srcOrd="0" destOrd="0" presId="urn:microsoft.com/office/officeart/2009/3/layout/HorizontalOrganizationChart"/>
    <dgm:cxn modelId="{3547BFBC-1B87-4E77-8AB2-6D25447742BC}" type="presParOf" srcId="{19D8EA44-4891-4876-A3FD-75C069271127}" destId="{5C8871E6-F55F-4AAC-9444-953BDC8BFF40}" srcOrd="1" destOrd="0" presId="urn:microsoft.com/office/officeart/2009/3/layout/HorizontalOrganizationChart"/>
    <dgm:cxn modelId="{04D64779-3EEA-4F39-8356-5430B85B4C6E}" type="presParOf" srcId="{2A15FFC2-0A3D-49A0-A616-0230EDFF10F9}" destId="{21E6A1A2-09CA-4457-8704-98B51B2825B1}" srcOrd="1" destOrd="0" presId="urn:microsoft.com/office/officeart/2009/3/layout/HorizontalOrganizationChart"/>
    <dgm:cxn modelId="{04D57461-CAF8-4C69-939E-83B28FA18841}" type="presParOf" srcId="{2A15FFC2-0A3D-49A0-A616-0230EDFF10F9}" destId="{08E6EC52-31E3-4246-B7D1-AE148E6A9594}" srcOrd="2" destOrd="0" presId="urn:microsoft.com/office/officeart/2009/3/layout/HorizontalOrganizationChart"/>
    <dgm:cxn modelId="{5AC024A2-A93A-4B13-9D19-4AAB92D26A47}" type="presParOf" srcId="{D897512D-1C5A-425D-A4CA-5FD67064C449}" destId="{641A1FB8-31EA-4400-89B2-B84BF9876F04}" srcOrd="1" destOrd="0" presId="urn:microsoft.com/office/officeart/2009/3/layout/HorizontalOrganizationChart"/>
    <dgm:cxn modelId="{A93564EE-B4C9-4851-BD5D-09F2A5389048}" type="presParOf" srcId="{641A1FB8-31EA-4400-89B2-B84BF9876F04}" destId="{2215DDD9-40C1-42ED-8100-DA0EF97500ED}" srcOrd="0" destOrd="0" presId="urn:microsoft.com/office/officeart/2009/3/layout/HorizontalOrganizationChart"/>
    <dgm:cxn modelId="{FAB86C3D-BA1C-49C5-B16A-97DEE8E3C23F}" type="presParOf" srcId="{2215DDD9-40C1-42ED-8100-DA0EF97500ED}" destId="{C106FE37-78FC-4B91-AB63-2959EC40C132}" srcOrd="0" destOrd="0" presId="urn:microsoft.com/office/officeart/2009/3/layout/HorizontalOrganizationChart"/>
    <dgm:cxn modelId="{23AE705A-57E4-44A9-9884-8BD64CCA59BF}" type="presParOf" srcId="{2215DDD9-40C1-42ED-8100-DA0EF97500ED}" destId="{860FFD42-6009-4881-8CA6-B334DA9A8178}" srcOrd="1" destOrd="0" presId="urn:microsoft.com/office/officeart/2009/3/layout/HorizontalOrganizationChart"/>
    <dgm:cxn modelId="{1D0E13E5-F1C7-4146-A71E-9C8242E45E48}" type="presParOf" srcId="{641A1FB8-31EA-4400-89B2-B84BF9876F04}" destId="{5CBC7A73-AC05-40F3-8431-9DC6AC782F09}" srcOrd="1" destOrd="0" presId="urn:microsoft.com/office/officeart/2009/3/layout/HorizontalOrganizationChart"/>
    <dgm:cxn modelId="{ECBE1D7E-6622-4875-9B01-91220355E194}" type="presParOf" srcId="{641A1FB8-31EA-4400-89B2-B84BF9876F04}" destId="{BCE2ECC5-6A04-4163-8498-00F0736A263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718AF86-2E83-4750-9E5F-A0B0CA96829B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FED36DBC-8D88-4B75-BECA-EC9BFD87DE2B}" type="parTrans" cxnId="{F0A8A1B4-0A05-4FDD-8D7C-27FC2EBF66C5}">
      <dgm:prSet/>
      <dgm:spPr/>
      <dgm:t>
        <a:bodyPr/>
        <a:lstStyle/>
        <a:p>
          <a:endParaRPr lang="en-US"/>
        </a:p>
      </dgm:t>
    </dgm:pt>
    <dgm:pt modelId="{75D565E3-8336-48C4-90E3-0C9DA6803E1C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32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upervisores</a:t>
          </a:r>
          <a:endParaRPr lang="en-US" sz="3200" dirty="0"/>
        </a:p>
      </dgm:t>
    </dgm:pt>
    <dgm:pt modelId="{7336C954-45A6-45C0-A688-FBC0481332A0}" type="sibTrans" cxnId="{F0A8A1B4-0A05-4FDD-8D7C-27FC2EBF66C5}">
      <dgm:prSet/>
      <dgm:spPr/>
      <dgm:t>
        <a:bodyPr/>
        <a:lstStyle/>
        <a:p>
          <a:endParaRPr lang="en-US"/>
        </a:p>
      </dgm:t>
    </dgm:pt>
    <dgm:pt modelId="{D6E3759B-9562-418F-A884-F46CCF2E4539}" type="parTrans" cxnId="{FED1C221-4160-4F02-A47B-4FDF760C683D}">
      <dgm:prSet/>
      <dgm:spPr/>
      <dgm:t>
        <a:bodyPr/>
        <a:lstStyle/>
        <a:p>
          <a:endParaRPr lang="en-US"/>
        </a:p>
      </dgm:t>
    </dgm:pt>
    <dgm:pt modelId="{1B8D85C5-F2D0-42D0-A7C7-595DDFBB0B94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Gerentes</a:t>
          </a:r>
          <a:endParaRPr lang="en-US"/>
        </a:p>
      </dgm:t>
    </dgm:pt>
    <dgm:pt modelId="{B41704BC-3399-4B98-8CBB-1C82DC8134AC}" type="sibTrans" cxnId="{FED1C221-4160-4F02-A47B-4FDF760C683D}">
      <dgm:prSet/>
      <dgm:spPr/>
      <dgm:t>
        <a:bodyPr/>
        <a:lstStyle/>
        <a:p>
          <a:endParaRPr lang="en-US"/>
        </a:p>
      </dgm:t>
    </dgm:pt>
    <dgm:pt modelId="{03350E07-5B48-4E7C-B3A5-440AC1FB5680}" type="parTrans" cxnId="{217D642B-B882-441D-9F8D-0C3F3C9D35BB}">
      <dgm:prSet/>
      <dgm:spPr/>
      <dgm:t>
        <a:bodyPr/>
        <a:lstStyle/>
        <a:p>
          <a:endParaRPr lang="en-US"/>
        </a:p>
      </dgm:t>
    </dgm:pt>
    <dgm:pt modelId="{877A83AA-B99B-4BD8-8DEC-185197AADBB9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pañeros de trabajo</a:t>
          </a:r>
          <a:endParaRPr lang="en-US" sz="3200"/>
        </a:p>
      </dgm:t>
    </dgm:pt>
    <dgm:pt modelId="{50A5F10B-C1FB-4521-826D-3C55CB839AE2}" type="sibTrans" cxnId="{217D642B-B882-441D-9F8D-0C3F3C9D35BB}">
      <dgm:prSet/>
      <dgm:spPr/>
      <dgm:t>
        <a:bodyPr/>
        <a:lstStyle/>
        <a:p>
          <a:endParaRPr lang="en-US"/>
        </a:p>
      </dgm:t>
    </dgm:pt>
    <dgm:pt modelId="{5F02574E-EF70-4789-8A4E-C11738F6861A}" type="parTrans" cxnId="{A97B8B1C-ED2B-403F-98C8-E4AC90AE9BB3}">
      <dgm:prSet/>
      <dgm:spPr/>
      <dgm:t>
        <a:bodyPr/>
        <a:lstStyle/>
        <a:p>
          <a:endParaRPr lang="en-US"/>
        </a:p>
      </dgm:t>
    </dgm:pt>
    <dgm:pt modelId="{2E3CAA22-643F-4AB0-A1DA-20BE5D846CFB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3200" b="0" i="0" strike="noStrike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roveedores</a:t>
          </a:r>
          <a:endParaRPr lang="en-US" sz="3200" dirty="0"/>
        </a:p>
      </dgm:t>
    </dgm:pt>
    <dgm:pt modelId="{7225BED6-EFE7-401D-8A32-EBCC85760333}" type="sibTrans" cxnId="{A97B8B1C-ED2B-403F-98C8-E4AC90AE9BB3}">
      <dgm:prSet/>
      <dgm:spPr/>
      <dgm:t>
        <a:bodyPr/>
        <a:lstStyle/>
        <a:p>
          <a:endParaRPr lang="en-US"/>
        </a:p>
      </dgm:t>
    </dgm:pt>
    <dgm:pt modelId="{48AC272F-9CFB-4033-B69D-73E2EE0B7EC5}" type="parTrans" cxnId="{BACDCD50-3FC5-421C-B61F-B2A9D74DC8E5}">
      <dgm:prSet/>
      <dgm:spPr/>
      <dgm:t>
        <a:bodyPr/>
        <a:lstStyle/>
        <a:p>
          <a:endParaRPr lang="en-US"/>
        </a:p>
      </dgm:t>
    </dgm:pt>
    <dgm:pt modelId="{C7781311-E474-47F5-902B-0A2B3D8FF44A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3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lientes</a:t>
          </a:r>
          <a:endParaRPr lang="en-US"/>
        </a:p>
      </dgm:t>
    </dgm:pt>
    <dgm:pt modelId="{D871D23F-569C-4FD5-AFBA-DD194F9C33FF}" type="sibTrans" cxnId="{BACDCD50-3FC5-421C-B61F-B2A9D74DC8E5}">
      <dgm:prSet/>
      <dgm:spPr/>
      <dgm:t>
        <a:bodyPr/>
        <a:lstStyle/>
        <a:p>
          <a:endParaRPr lang="en-US"/>
        </a:p>
      </dgm:t>
    </dgm:pt>
    <dgm:pt modelId="{56D5179D-1EFA-4854-87D9-1B62387F6DC6}" type="parTrans" cxnId="{000DCD37-100C-4C78-A715-5B53CD09FA5E}">
      <dgm:prSet/>
      <dgm:spPr/>
      <dgm:t>
        <a:bodyPr/>
        <a:lstStyle/>
        <a:p>
          <a:endParaRPr lang="en-US"/>
        </a:p>
      </dgm:t>
    </dgm:pt>
    <dgm:pt modelId="{4FB763E3-8A34-4199-805A-904204A5B9E8}">
      <dgm:prSet custT="1"/>
      <dgm:spPr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32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tratistas</a:t>
          </a:r>
          <a:endParaRPr lang="en-US" sz="3200"/>
        </a:p>
      </dgm:t>
    </dgm:pt>
    <dgm:pt modelId="{5D5D3307-FD81-45B6-A978-0B64D363C3ED}" type="sibTrans" cxnId="{000DCD37-100C-4C78-A715-5B53CD09FA5E}">
      <dgm:prSet/>
      <dgm:spPr/>
      <dgm:t>
        <a:bodyPr/>
        <a:lstStyle/>
        <a:p>
          <a:endParaRPr lang="en-US"/>
        </a:p>
      </dgm:t>
    </dgm:pt>
    <dgm:pt modelId="{7B6D35E6-14FC-460A-BFCD-18027F77E34D}" type="pres">
      <dgm:prSet presAssocID="{E718AF86-2E83-4750-9E5F-A0B0CA96829B}" presName="diagram" presStyleCnt="0">
        <dgm:presLayoutVars>
          <dgm:dir/>
          <dgm:resizeHandles val="exact"/>
        </dgm:presLayoutVars>
      </dgm:prSet>
      <dgm:spPr/>
    </dgm:pt>
    <dgm:pt modelId="{BF61FA31-D264-43EA-875B-A2B7B8E7012B}" type="pres">
      <dgm:prSet presAssocID="{75D565E3-8336-48C4-90E3-0C9DA6803E1C}" presName="node" presStyleLbl="node1" presStyleIdx="0" presStyleCnt="6">
        <dgm:presLayoutVars>
          <dgm:bulletEnabled val="1"/>
        </dgm:presLayoutVars>
      </dgm:prSet>
      <dgm:spPr/>
    </dgm:pt>
    <dgm:pt modelId="{3A618FCC-9271-4F94-9C7F-8E0070B1CDA1}" type="pres">
      <dgm:prSet presAssocID="{7336C954-45A6-45C0-A688-FBC0481332A0}" presName="sibTrans" presStyleCnt="0"/>
      <dgm:spPr/>
    </dgm:pt>
    <dgm:pt modelId="{4573CE03-A660-44F7-B0C8-0BF6532B8A05}" type="pres">
      <dgm:prSet presAssocID="{1B8D85C5-F2D0-42D0-A7C7-595DDFBB0B94}" presName="node" presStyleLbl="node1" presStyleIdx="1" presStyleCnt="6">
        <dgm:presLayoutVars>
          <dgm:bulletEnabled val="1"/>
        </dgm:presLayoutVars>
      </dgm:prSet>
      <dgm:spPr/>
    </dgm:pt>
    <dgm:pt modelId="{C2F10033-87C7-49C0-930D-446DCB2C20C3}" type="pres">
      <dgm:prSet presAssocID="{B41704BC-3399-4B98-8CBB-1C82DC8134AC}" presName="sibTrans" presStyleCnt="0"/>
      <dgm:spPr/>
    </dgm:pt>
    <dgm:pt modelId="{7D292785-63DD-40E5-BF38-3BDE0B2D1FB7}" type="pres">
      <dgm:prSet presAssocID="{877A83AA-B99B-4BD8-8DEC-185197AADBB9}" presName="node" presStyleLbl="node1" presStyleIdx="2" presStyleCnt="6">
        <dgm:presLayoutVars>
          <dgm:bulletEnabled val="1"/>
        </dgm:presLayoutVars>
      </dgm:prSet>
      <dgm:spPr/>
    </dgm:pt>
    <dgm:pt modelId="{9833DF5B-68D5-41F6-A523-9A5678394E58}" type="pres">
      <dgm:prSet presAssocID="{50A5F10B-C1FB-4521-826D-3C55CB839AE2}" presName="sibTrans" presStyleCnt="0"/>
      <dgm:spPr/>
    </dgm:pt>
    <dgm:pt modelId="{8E5F5894-71D7-4AD0-AB3F-825397E67428}" type="pres">
      <dgm:prSet presAssocID="{2E3CAA22-643F-4AB0-A1DA-20BE5D846CFB}" presName="node" presStyleLbl="node1" presStyleIdx="3" presStyleCnt="6">
        <dgm:presLayoutVars>
          <dgm:bulletEnabled val="1"/>
        </dgm:presLayoutVars>
      </dgm:prSet>
      <dgm:spPr/>
    </dgm:pt>
    <dgm:pt modelId="{8ABC1043-C70B-4802-972F-E92D28931A33}" type="pres">
      <dgm:prSet presAssocID="{7225BED6-EFE7-401D-8A32-EBCC85760333}" presName="sibTrans" presStyleCnt="0"/>
      <dgm:spPr/>
    </dgm:pt>
    <dgm:pt modelId="{41438514-9CE3-4267-8433-2A509C733917}" type="pres">
      <dgm:prSet presAssocID="{C7781311-E474-47F5-902B-0A2B3D8FF44A}" presName="node" presStyleLbl="node1" presStyleIdx="4" presStyleCnt="6">
        <dgm:presLayoutVars>
          <dgm:bulletEnabled val="1"/>
        </dgm:presLayoutVars>
      </dgm:prSet>
      <dgm:spPr/>
    </dgm:pt>
    <dgm:pt modelId="{64659242-38B6-43C3-988D-CA767345F9FA}" type="pres">
      <dgm:prSet presAssocID="{D871D23F-569C-4FD5-AFBA-DD194F9C33FF}" presName="sibTrans" presStyleCnt="0"/>
      <dgm:spPr/>
    </dgm:pt>
    <dgm:pt modelId="{CD7FF0B3-454C-4F5A-9542-9E88E96578B7}" type="pres">
      <dgm:prSet presAssocID="{4FB763E3-8A34-4199-805A-904204A5B9E8}" presName="node" presStyleLbl="node1" presStyleIdx="5" presStyleCnt="6">
        <dgm:presLayoutVars>
          <dgm:bulletEnabled val="1"/>
        </dgm:presLayoutVars>
      </dgm:prSet>
      <dgm:spPr/>
    </dgm:pt>
  </dgm:ptLst>
  <dgm:cxnLst>
    <dgm:cxn modelId="{307DB80A-247A-4C45-BCA8-F8CD867D2BD7}" type="presOf" srcId="{877A83AA-B99B-4BD8-8DEC-185197AADBB9}" destId="{7D292785-63DD-40E5-BF38-3BDE0B2D1FB7}" srcOrd="0" destOrd="0" presId="urn:microsoft.com/office/officeart/2005/8/layout/default"/>
    <dgm:cxn modelId="{A97B8B1C-ED2B-403F-98C8-E4AC90AE9BB3}" srcId="{E718AF86-2E83-4750-9E5F-A0B0CA96829B}" destId="{2E3CAA22-643F-4AB0-A1DA-20BE5D846CFB}" srcOrd="3" destOrd="0" parTransId="{5F02574E-EF70-4789-8A4E-C11738F6861A}" sibTransId="{7225BED6-EFE7-401D-8A32-EBCC85760333}"/>
    <dgm:cxn modelId="{FED1C221-4160-4F02-A47B-4FDF760C683D}" srcId="{E718AF86-2E83-4750-9E5F-A0B0CA96829B}" destId="{1B8D85C5-F2D0-42D0-A7C7-595DDFBB0B94}" srcOrd="1" destOrd="0" parTransId="{D6E3759B-9562-418F-A884-F46CCF2E4539}" sibTransId="{B41704BC-3399-4B98-8CBB-1C82DC8134AC}"/>
    <dgm:cxn modelId="{217D642B-B882-441D-9F8D-0C3F3C9D35BB}" srcId="{E718AF86-2E83-4750-9E5F-A0B0CA96829B}" destId="{877A83AA-B99B-4BD8-8DEC-185197AADBB9}" srcOrd="2" destOrd="0" parTransId="{03350E07-5B48-4E7C-B3A5-440AC1FB5680}" sibTransId="{50A5F10B-C1FB-4521-826D-3C55CB839AE2}"/>
    <dgm:cxn modelId="{0B62E22E-CC6A-4892-8D2D-03CDD05A50F1}" type="presOf" srcId="{1B8D85C5-F2D0-42D0-A7C7-595DDFBB0B94}" destId="{4573CE03-A660-44F7-B0C8-0BF6532B8A05}" srcOrd="0" destOrd="0" presId="urn:microsoft.com/office/officeart/2005/8/layout/default"/>
    <dgm:cxn modelId="{000DCD37-100C-4C78-A715-5B53CD09FA5E}" srcId="{E718AF86-2E83-4750-9E5F-A0B0CA96829B}" destId="{4FB763E3-8A34-4199-805A-904204A5B9E8}" srcOrd="5" destOrd="0" parTransId="{56D5179D-1EFA-4854-87D9-1B62387F6DC6}" sibTransId="{5D5D3307-FD81-45B6-A978-0B64D363C3ED}"/>
    <dgm:cxn modelId="{E42E6867-0FAD-4DE3-8FD5-9D8FDDD24CD2}" type="presOf" srcId="{75D565E3-8336-48C4-90E3-0C9DA6803E1C}" destId="{BF61FA31-D264-43EA-875B-A2B7B8E7012B}" srcOrd="0" destOrd="0" presId="urn:microsoft.com/office/officeart/2005/8/layout/default"/>
    <dgm:cxn modelId="{BACDCD50-3FC5-421C-B61F-B2A9D74DC8E5}" srcId="{E718AF86-2E83-4750-9E5F-A0B0CA96829B}" destId="{C7781311-E474-47F5-902B-0A2B3D8FF44A}" srcOrd="4" destOrd="0" parTransId="{48AC272F-9CFB-4033-B69D-73E2EE0B7EC5}" sibTransId="{D871D23F-569C-4FD5-AFBA-DD194F9C33FF}"/>
    <dgm:cxn modelId="{8735828E-4C3A-46A3-B3A5-403AD001B151}" type="presOf" srcId="{E718AF86-2E83-4750-9E5F-A0B0CA96829B}" destId="{7B6D35E6-14FC-460A-BFCD-18027F77E34D}" srcOrd="0" destOrd="0" presId="urn:microsoft.com/office/officeart/2005/8/layout/default"/>
    <dgm:cxn modelId="{67F3D193-ACA4-4F35-AB2B-C8EAC37E3C7E}" type="presOf" srcId="{4FB763E3-8A34-4199-805A-904204A5B9E8}" destId="{CD7FF0B3-454C-4F5A-9542-9E88E96578B7}" srcOrd="0" destOrd="0" presId="urn:microsoft.com/office/officeart/2005/8/layout/default"/>
    <dgm:cxn modelId="{C8FF43A7-6642-412F-8D8D-E933DCAFCCDA}" type="presOf" srcId="{2E3CAA22-643F-4AB0-A1DA-20BE5D846CFB}" destId="{8E5F5894-71D7-4AD0-AB3F-825397E67428}" srcOrd="0" destOrd="0" presId="urn:microsoft.com/office/officeart/2005/8/layout/default"/>
    <dgm:cxn modelId="{F0A8A1B4-0A05-4FDD-8D7C-27FC2EBF66C5}" srcId="{E718AF86-2E83-4750-9E5F-A0B0CA96829B}" destId="{75D565E3-8336-48C4-90E3-0C9DA6803E1C}" srcOrd="0" destOrd="0" parTransId="{FED36DBC-8D88-4B75-BECA-EC9BFD87DE2B}" sibTransId="{7336C954-45A6-45C0-A688-FBC0481332A0}"/>
    <dgm:cxn modelId="{12E29EF3-5BE4-40B5-9348-D117A9726DBB}" type="presOf" srcId="{C7781311-E474-47F5-902B-0A2B3D8FF44A}" destId="{41438514-9CE3-4267-8433-2A509C733917}" srcOrd="0" destOrd="0" presId="urn:microsoft.com/office/officeart/2005/8/layout/default"/>
    <dgm:cxn modelId="{21FC0DE3-44BB-4649-A5A0-B8975F94CE8D}" type="presParOf" srcId="{7B6D35E6-14FC-460A-BFCD-18027F77E34D}" destId="{BF61FA31-D264-43EA-875B-A2B7B8E7012B}" srcOrd="0" destOrd="0" presId="urn:microsoft.com/office/officeart/2005/8/layout/default"/>
    <dgm:cxn modelId="{ABB5442D-9102-4314-92EB-B812D803C84C}" type="presParOf" srcId="{7B6D35E6-14FC-460A-BFCD-18027F77E34D}" destId="{3A618FCC-9271-4F94-9C7F-8E0070B1CDA1}" srcOrd="1" destOrd="0" presId="urn:microsoft.com/office/officeart/2005/8/layout/default"/>
    <dgm:cxn modelId="{3160B0E2-F76E-4E94-8D0B-F3E1E0BBD32D}" type="presParOf" srcId="{7B6D35E6-14FC-460A-BFCD-18027F77E34D}" destId="{4573CE03-A660-44F7-B0C8-0BF6532B8A05}" srcOrd="2" destOrd="0" presId="urn:microsoft.com/office/officeart/2005/8/layout/default"/>
    <dgm:cxn modelId="{45B61D07-03EB-4749-A368-54A079FEDCD0}" type="presParOf" srcId="{7B6D35E6-14FC-460A-BFCD-18027F77E34D}" destId="{C2F10033-87C7-49C0-930D-446DCB2C20C3}" srcOrd="3" destOrd="0" presId="urn:microsoft.com/office/officeart/2005/8/layout/default"/>
    <dgm:cxn modelId="{1253FFBD-118D-4DD7-A5DA-3BD1D5CA91B4}" type="presParOf" srcId="{7B6D35E6-14FC-460A-BFCD-18027F77E34D}" destId="{7D292785-63DD-40E5-BF38-3BDE0B2D1FB7}" srcOrd="4" destOrd="0" presId="urn:microsoft.com/office/officeart/2005/8/layout/default"/>
    <dgm:cxn modelId="{F89497D8-1607-4157-9536-668805C7B5B5}" type="presParOf" srcId="{7B6D35E6-14FC-460A-BFCD-18027F77E34D}" destId="{9833DF5B-68D5-41F6-A523-9A5678394E58}" srcOrd="5" destOrd="0" presId="urn:microsoft.com/office/officeart/2005/8/layout/default"/>
    <dgm:cxn modelId="{2FE375EA-DB95-4A0C-BC0A-B3F4C0159825}" type="presParOf" srcId="{7B6D35E6-14FC-460A-BFCD-18027F77E34D}" destId="{8E5F5894-71D7-4AD0-AB3F-825397E67428}" srcOrd="6" destOrd="0" presId="urn:microsoft.com/office/officeart/2005/8/layout/default"/>
    <dgm:cxn modelId="{D1D4927A-FF2B-4F2E-BB02-A31A58096EDD}" type="presParOf" srcId="{7B6D35E6-14FC-460A-BFCD-18027F77E34D}" destId="{8ABC1043-C70B-4802-972F-E92D28931A33}" srcOrd="7" destOrd="0" presId="urn:microsoft.com/office/officeart/2005/8/layout/default"/>
    <dgm:cxn modelId="{C8F12026-C44D-4C92-B1F1-7860B47A6A9B}" type="presParOf" srcId="{7B6D35E6-14FC-460A-BFCD-18027F77E34D}" destId="{41438514-9CE3-4267-8433-2A509C733917}" srcOrd="8" destOrd="0" presId="urn:microsoft.com/office/officeart/2005/8/layout/default"/>
    <dgm:cxn modelId="{DEDEFFFC-C169-4B88-AA34-D596363454F5}" type="presParOf" srcId="{7B6D35E6-14FC-460A-BFCD-18027F77E34D}" destId="{64659242-38B6-43C3-988D-CA767345F9FA}" srcOrd="9" destOrd="0" presId="urn:microsoft.com/office/officeart/2005/8/layout/default"/>
    <dgm:cxn modelId="{F121E165-720E-4794-94CB-85B85E41E5BF}" type="presParOf" srcId="{7B6D35E6-14FC-460A-BFCD-18027F77E34D}" destId="{CD7FF0B3-454C-4F5A-9542-9E88E96578B7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C05A7D9-4B26-493B-AD17-CF6F474D2605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3147A8-9B94-4655-872A-C321ED63F359}" type="parTrans" cxnId="{0FB13262-18F1-41ED-9C19-522F0B93C675}">
      <dgm:prSet/>
      <dgm:spPr/>
      <dgm:t>
        <a:bodyPr/>
        <a:lstStyle/>
        <a:p>
          <a:endParaRPr lang="en-US"/>
        </a:p>
      </dgm:t>
    </dgm:pt>
    <dgm:pt modelId="{D1140553-0F2C-4E08-A6D7-E9695769881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ucta visual </a:t>
          </a:r>
        </a:p>
      </dgm:t>
    </dgm:pt>
    <dgm:pt modelId="{6EE0849C-BC16-44AE-B4F4-4E3885699EAF}" type="parTrans" cxnId="{CB54C412-CE73-40E1-A5B0-34D7D07E5398}">
      <dgm:prSet/>
      <dgm:spPr/>
      <dgm:t>
        <a:bodyPr/>
        <a:lstStyle/>
        <a:p>
          <a:endParaRPr lang="en-US"/>
        </a:p>
      </dgm:t>
    </dgm:pt>
    <dgm:pt modelId="{7AD47BAE-9CB4-432C-9257-ACCCDE15C002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irar lascivamente, hacer gestos sexuales</a:t>
          </a:r>
        </a:p>
      </dgm:t>
    </dgm:pt>
    <dgm:pt modelId="{B2C67109-4C19-4CF1-A362-DDEA36B3260E}" type="sibTrans" cxnId="{CB54C412-CE73-40E1-A5B0-34D7D07E5398}">
      <dgm:prSet/>
      <dgm:spPr/>
      <dgm:t>
        <a:bodyPr/>
        <a:lstStyle/>
        <a:p>
          <a:endParaRPr lang="en-US"/>
        </a:p>
      </dgm:t>
    </dgm:pt>
    <dgm:pt modelId="{B0B1209E-36A1-4E04-98E3-7E1EE65124D5}" type="parTrans" cxnId="{99D50774-A0E3-4BA0-BFA6-9EA610A480B0}">
      <dgm:prSet/>
      <dgm:spPr/>
      <dgm:t>
        <a:bodyPr/>
        <a:lstStyle/>
        <a:p>
          <a:endParaRPr lang="en-US"/>
        </a:p>
      </dgm:t>
    </dgm:pt>
    <dgm:pt modelId="{424F1DCF-E6C8-484E-BBFE-3FD4CF2C4D50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xhibición de objetos, imágenes, caricaturas o carteles sugestivos en formato impreso o digital</a:t>
          </a:r>
        </a:p>
      </dgm:t>
    </dgm:pt>
    <dgm:pt modelId="{5519A9E2-41C9-4E39-8BED-4C67155F3D79}" type="sibTrans" cxnId="{99D50774-A0E3-4BA0-BFA6-9EA610A480B0}">
      <dgm:prSet/>
      <dgm:spPr/>
      <dgm:t>
        <a:bodyPr/>
        <a:lstStyle/>
        <a:p>
          <a:endParaRPr lang="en-US"/>
        </a:p>
      </dgm:t>
    </dgm:pt>
    <dgm:pt modelId="{7317062B-F1CA-45AF-ACEC-CF8A4966C4E7}" type="sibTrans" cxnId="{0FB13262-18F1-41ED-9C19-522F0B93C675}">
      <dgm:prSet/>
      <dgm:spPr/>
      <dgm:t>
        <a:bodyPr/>
        <a:lstStyle/>
        <a:p>
          <a:endParaRPr lang="en-US"/>
        </a:p>
      </dgm:t>
    </dgm:pt>
    <dgm:pt modelId="{01509BDB-23A7-4E1A-8EE1-9B1BA783FFD5}" type="parTrans" cxnId="{B3F9FE1B-3D0F-4960-861A-89BFE3FD4CD3}">
      <dgm:prSet/>
      <dgm:spPr/>
      <dgm:t>
        <a:bodyPr/>
        <a:lstStyle/>
        <a:p>
          <a:endParaRPr lang="en-US"/>
        </a:p>
      </dgm:t>
    </dgm:pt>
    <dgm:pt modelId="{03ADAECB-047A-46F4-9200-A29E2B53805A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ucta física</a:t>
          </a:r>
        </a:p>
      </dgm:t>
    </dgm:pt>
    <dgm:pt modelId="{7D4D8014-F1DB-411D-A99F-000FBF67510A}" type="parTrans" cxnId="{CD5F5324-04E3-4ADC-8625-FB57C69797B1}">
      <dgm:prSet/>
      <dgm:spPr/>
      <dgm:t>
        <a:bodyPr/>
        <a:lstStyle/>
        <a:p>
          <a:endParaRPr lang="en-US"/>
        </a:p>
      </dgm:t>
    </dgm:pt>
    <dgm:pt modelId="{700502CC-08DF-4A38-B06C-7BAE4529CD04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ocar, abrazar o masajear</a:t>
          </a:r>
        </a:p>
      </dgm:t>
    </dgm:pt>
    <dgm:pt modelId="{3AA66E2B-C7F4-4738-B0C6-89117339686D}" type="sibTrans" cxnId="{CD5F5324-04E3-4ADC-8625-FB57C69797B1}">
      <dgm:prSet/>
      <dgm:spPr/>
      <dgm:t>
        <a:bodyPr/>
        <a:lstStyle/>
        <a:p>
          <a:endParaRPr lang="en-US"/>
        </a:p>
      </dgm:t>
    </dgm:pt>
    <dgm:pt modelId="{9B816D66-BCA5-4EB0-97D2-6A6E68BCB7D8}" type="parTrans" cxnId="{59B569AB-0A34-44C7-BECF-60E98E917CC2}">
      <dgm:prSet/>
      <dgm:spPr/>
      <dgm:t>
        <a:bodyPr/>
        <a:lstStyle/>
        <a:p>
          <a:endParaRPr lang="en-US"/>
        </a:p>
      </dgm:t>
    </dgm:pt>
    <dgm:pt modelId="{AAABA161-B816-48FE-9FF6-403447916EF6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gresión</a:t>
          </a:r>
        </a:p>
      </dgm:t>
    </dgm:pt>
    <dgm:pt modelId="{CAF8154D-B656-4A60-911E-7D35FB8AFDAF}" type="sibTrans" cxnId="{59B569AB-0A34-44C7-BECF-60E98E917CC2}">
      <dgm:prSet/>
      <dgm:spPr/>
      <dgm:t>
        <a:bodyPr/>
        <a:lstStyle/>
        <a:p>
          <a:endParaRPr lang="en-US"/>
        </a:p>
      </dgm:t>
    </dgm:pt>
    <dgm:pt modelId="{7136BF63-0206-4684-85AB-24B66306CC42}" type="parTrans" cxnId="{C6050E4A-AF6E-48D1-A234-7A70B93DF140}">
      <dgm:prSet/>
      <dgm:spPr/>
      <dgm:t>
        <a:bodyPr/>
        <a:lstStyle/>
        <a:p>
          <a:endParaRPr lang="en-US"/>
        </a:p>
      </dgm:t>
    </dgm:pt>
    <dgm:pt modelId="{6145CC65-493A-459B-864E-BE0291E3B59B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mpedir o bloquear el movimiento </a:t>
          </a:r>
        </a:p>
      </dgm:t>
    </dgm:pt>
    <dgm:pt modelId="{72680BB3-04FA-41D0-987B-EFEBFE9E86BA}" type="sibTrans" cxnId="{C6050E4A-AF6E-48D1-A234-7A70B93DF140}">
      <dgm:prSet/>
      <dgm:spPr/>
      <dgm:t>
        <a:bodyPr/>
        <a:lstStyle/>
        <a:p>
          <a:endParaRPr lang="en-US"/>
        </a:p>
      </dgm:t>
    </dgm:pt>
    <dgm:pt modelId="{CDCDB1D1-BFA5-4418-9B98-B885AF47B3A5}" type="sibTrans" cxnId="{B3F9FE1B-3D0F-4960-861A-89BFE3FD4CD3}">
      <dgm:prSet/>
      <dgm:spPr/>
      <dgm:t>
        <a:bodyPr/>
        <a:lstStyle/>
        <a:p>
          <a:endParaRPr lang="en-US"/>
        </a:p>
      </dgm:t>
    </dgm:pt>
    <dgm:pt modelId="{998E800D-ECE1-4951-9960-7BDD393DF063}" type="parTrans" cxnId="{9BB5858E-9C3B-4BB8-9ED4-BE0F5232DB41}">
      <dgm:prSet/>
      <dgm:spPr/>
      <dgm:t>
        <a:bodyPr/>
        <a:lstStyle/>
        <a:p>
          <a:endParaRPr lang="en-US"/>
        </a:p>
      </dgm:t>
    </dgm:pt>
    <dgm:pt modelId="{E826FA2F-8DF9-4F84-A929-4F0DA138E063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ucta verbal </a:t>
          </a:r>
        </a:p>
      </dgm:t>
    </dgm:pt>
    <dgm:pt modelId="{E1A01D08-2A2A-4288-9A6B-4683DB5B102E}" type="parTrans" cxnId="{F15DE4B0-8642-4A9C-B61A-56192BB23BD6}">
      <dgm:prSet/>
      <dgm:spPr/>
      <dgm:t>
        <a:bodyPr/>
        <a:lstStyle/>
        <a:p>
          <a:endParaRPr lang="en-US"/>
        </a:p>
      </dgm:t>
    </dgm:pt>
    <dgm:pt modelId="{9BBEF1E3-0CAD-46F1-A1A7-FDD1D2E9A001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Hacer o usar comentarios, insultos o bromas despectivos en persona o a través de mensajes de texto, correos electrónicos o mensajes</a:t>
          </a:r>
        </a:p>
      </dgm:t>
    </dgm:pt>
    <dgm:pt modelId="{2F4CA838-9D64-4D04-B928-E4E177D2EFFC}" type="sibTrans" cxnId="{F15DE4B0-8642-4A9C-B61A-56192BB23BD6}">
      <dgm:prSet/>
      <dgm:spPr/>
      <dgm:t>
        <a:bodyPr/>
        <a:lstStyle/>
        <a:p>
          <a:endParaRPr lang="en-US"/>
        </a:p>
      </dgm:t>
    </dgm:pt>
    <dgm:pt modelId="{8014555A-0CB7-4C34-ACAE-613E5E6AC076}" type="parTrans" cxnId="{CFAFF57D-93C3-4090-8BB8-796B2CDC8CFB}">
      <dgm:prSet/>
      <dgm:spPr/>
      <dgm:t>
        <a:bodyPr/>
        <a:lstStyle/>
        <a:p>
          <a:endParaRPr lang="en-US"/>
        </a:p>
      </dgm:t>
    </dgm:pt>
    <dgm:pt modelId="{D83BCC78-D56C-40B2-A4E9-119D217BB84C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ropuestas o insinuaciones sexuales verbales</a:t>
          </a:r>
        </a:p>
      </dgm:t>
    </dgm:pt>
    <dgm:pt modelId="{42890CFE-C418-459F-93F0-D743808833AF}" type="sibTrans" cxnId="{CFAFF57D-93C3-4090-8BB8-796B2CDC8CFB}">
      <dgm:prSet/>
      <dgm:spPr/>
      <dgm:t>
        <a:bodyPr/>
        <a:lstStyle/>
        <a:p>
          <a:endParaRPr lang="en-US"/>
        </a:p>
      </dgm:t>
    </dgm:pt>
    <dgm:pt modelId="{D17DCF28-A149-41C4-8F81-35A18B015B57}" type="parTrans" cxnId="{534951BF-8969-430D-A13B-051884C4A0DD}">
      <dgm:prSet/>
      <dgm:spPr/>
      <dgm:t>
        <a:bodyPr/>
        <a:lstStyle/>
        <a:p>
          <a:endParaRPr lang="en-US"/>
        </a:p>
      </dgm:t>
    </dgm:pt>
    <dgm:pt modelId="{C15B46CF-86A6-42D1-A495-80BDE3CACF54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buso verbal de naturaleza sexual</a:t>
          </a:r>
        </a:p>
      </dgm:t>
    </dgm:pt>
    <dgm:pt modelId="{04EE481C-7495-40CE-950B-C4EB510C5DC1}" type="sibTrans" cxnId="{534951BF-8969-430D-A13B-051884C4A0DD}">
      <dgm:prSet/>
      <dgm:spPr/>
      <dgm:t>
        <a:bodyPr/>
        <a:lstStyle/>
        <a:p>
          <a:endParaRPr lang="en-US"/>
        </a:p>
      </dgm:t>
    </dgm:pt>
    <dgm:pt modelId="{1C4B42A5-C5B7-4CE0-B56D-8D3A89CD9A8B}" type="parTrans" cxnId="{AD32B3B7-A0A3-4F22-96EB-83E188CC6ADD}">
      <dgm:prSet/>
      <dgm:spPr/>
      <dgm:t>
        <a:bodyPr/>
        <a:lstStyle/>
        <a:p>
          <a:endParaRPr lang="en-US"/>
        </a:p>
      </dgm:t>
    </dgm:pt>
    <dgm:pt modelId="{9318EE55-3B8D-40BB-B3DD-40119884117B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entarios verbales gráficos sobre el cuerpo de una persona</a:t>
          </a:r>
        </a:p>
      </dgm:t>
    </dgm:pt>
    <dgm:pt modelId="{56FEB4AC-12D6-48A4-92FD-11F459ACEE29}" type="sibTrans" cxnId="{AD32B3B7-A0A3-4F22-96EB-83E188CC6ADD}">
      <dgm:prSet/>
      <dgm:spPr/>
      <dgm:t>
        <a:bodyPr/>
        <a:lstStyle/>
        <a:p>
          <a:endParaRPr lang="en-US"/>
        </a:p>
      </dgm:t>
    </dgm:pt>
    <dgm:pt modelId="{544ED2F1-447B-4D28-B908-B8AA40785393}" type="parTrans" cxnId="{DED08E4E-B3BA-4E0A-B562-DC2617179195}">
      <dgm:prSet/>
      <dgm:spPr/>
      <dgm:t>
        <a:bodyPr/>
        <a:lstStyle/>
        <a:p>
          <a:endParaRPr lang="en-US"/>
        </a:p>
      </dgm:t>
    </dgm:pt>
    <dgm:pt modelId="{70B2DF44-34FC-4788-9FB5-6B334345058D}">
      <dgm:prSet phldrT="[Text]" custT="1"/>
      <dgm:spPr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</dgm:spPr>
      <dgm:t>
        <a:bodyPr/>
        <a:lstStyle/>
        <a:p>
          <a:r>
            <a:rPr lang="es-LA" sz="1600" b="0" i="0" strike="noStrike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alabras sexualmente degradantes utilizadas para describir a una persona, cartas, notas o invitaciones sugestivas u obscenas</a:t>
          </a:r>
        </a:p>
      </dgm:t>
    </dgm:pt>
    <dgm:pt modelId="{FBB0510E-F978-4063-8359-F3B0AA0F5613}" type="sibTrans" cxnId="{DED08E4E-B3BA-4E0A-B562-DC2617179195}">
      <dgm:prSet/>
      <dgm:spPr/>
      <dgm:t>
        <a:bodyPr/>
        <a:lstStyle/>
        <a:p>
          <a:endParaRPr lang="en-US"/>
        </a:p>
      </dgm:t>
    </dgm:pt>
    <dgm:pt modelId="{ADE3DF73-07D5-4C55-842D-35766D1190D0}" type="sibTrans" cxnId="{9BB5858E-9C3B-4BB8-9ED4-BE0F5232DB41}">
      <dgm:prSet/>
      <dgm:spPr/>
      <dgm:t>
        <a:bodyPr/>
        <a:lstStyle/>
        <a:p>
          <a:endParaRPr lang="en-US"/>
        </a:p>
      </dgm:t>
    </dgm:pt>
    <dgm:pt modelId="{4C92CBA6-378A-4AC4-8B81-EBCFC25998B5}" type="pres">
      <dgm:prSet presAssocID="{0C05A7D9-4B26-493B-AD17-CF6F474D2605}" presName="diagram" presStyleCnt="0">
        <dgm:presLayoutVars>
          <dgm:dir/>
          <dgm:resizeHandles val="exact"/>
        </dgm:presLayoutVars>
      </dgm:prSet>
      <dgm:spPr/>
    </dgm:pt>
    <dgm:pt modelId="{EA286E4F-7206-4C05-AD55-DC212A1A5DC4}" type="pres">
      <dgm:prSet presAssocID="{D1140553-0F2C-4E08-A6D7-E96957698816}" presName="node" presStyleLbl="node1" presStyleIdx="0" presStyleCnt="3" custScaleY="72244">
        <dgm:presLayoutVars>
          <dgm:bulletEnabled val="1"/>
        </dgm:presLayoutVars>
      </dgm:prSet>
      <dgm:spPr/>
    </dgm:pt>
    <dgm:pt modelId="{F80C4730-0173-4C1A-9B71-4C9F48B5C63F}" type="pres">
      <dgm:prSet presAssocID="{7317062B-F1CA-45AF-ACEC-CF8A4966C4E7}" presName="sibTrans" presStyleCnt="0"/>
      <dgm:spPr/>
    </dgm:pt>
    <dgm:pt modelId="{988B99C9-8C3B-43DD-B195-DE7699CD3887}" type="pres">
      <dgm:prSet presAssocID="{03ADAECB-047A-46F4-9200-A29E2B53805A}" presName="node" presStyleLbl="node1" presStyleIdx="1" presStyleCnt="3" custScaleY="72244">
        <dgm:presLayoutVars>
          <dgm:bulletEnabled val="1"/>
        </dgm:presLayoutVars>
      </dgm:prSet>
      <dgm:spPr/>
    </dgm:pt>
    <dgm:pt modelId="{8757694E-B58D-42BB-9481-BBB0585FB9A2}" type="pres">
      <dgm:prSet presAssocID="{CDCDB1D1-BFA5-4418-9B98-B885AF47B3A5}" presName="sibTrans" presStyleCnt="0"/>
      <dgm:spPr/>
    </dgm:pt>
    <dgm:pt modelId="{66092D74-200C-439C-BC45-FB0319721481}" type="pres">
      <dgm:prSet presAssocID="{E826FA2F-8DF9-4F84-A929-4F0DA138E063}" presName="node" presStyleLbl="node1" presStyleIdx="2" presStyleCnt="3" custScaleX="181097" custScaleY="106337">
        <dgm:presLayoutVars>
          <dgm:bulletEnabled val="1"/>
        </dgm:presLayoutVars>
      </dgm:prSet>
      <dgm:spPr/>
    </dgm:pt>
  </dgm:ptLst>
  <dgm:cxnLst>
    <dgm:cxn modelId="{F2D8C304-E3AA-459F-A034-14097BECAAF3}" type="presOf" srcId="{03ADAECB-047A-46F4-9200-A29E2B53805A}" destId="{988B99C9-8C3B-43DD-B195-DE7699CD3887}" srcOrd="0" destOrd="0" presId="urn:microsoft.com/office/officeart/2005/8/layout/default"/>
    <dgm:cxn modelId="{24551B0B-71D8-499A-A090-78440EEFE289}" type="presOf" srcId="{6145CC65-493A-459B-864E-BE0291E3B59B}" destId="{988B99C9-8C3B-43DD-B195-DE7699CD3887}" srcOrd="0" destOrd="3" presId="urn:microsoft.com/office/officeart/2005/8/layout/default"/>
    <dgm:cxn modelId="{CB54C412-CE73-40E1-A5B0-34D7D07E5398}" srcId="{D1140553-0F2C-4E08-A6D7-E96957698816}" destId="{7AD47BAE-9CB4-432C-9257-ACCCDE15C002}" srcOrd="0" destOrd="0" parTransId="{6EE0849C-BC16-44AE-B4F4-4E3885699EAF}" sibTransId="{B2C67109-4C19-4CF1-A362-DDEA36B3260E}"/>
    <dgm:cxn modelId="{B3F9FE1B-3D0F-4960-861A-89BFE3FD4CD3}" srcId="{0C05A7D9-4B26-493B-AD17-CF6F474D2605}" destId="{03ADAECB-047A-46F4-9200-A29E2B53805A}" srcOrd="1" destOrd="0" parTransId="{01509BDB-23A7-4E1A-8EE1-9B1BA783FFD5}" sibTransId="{CDCDB1D1-BFA5-4418-9B98-B885AF47B3A5}"/>
    <dgm:cxn modelId="{CD5F5324-04E3-4ADC-8625-FB57C69797B1}" srcId="{03ADAECB-047A-46F4-9200-A29E2B53805A}" destId="{700502CC-08DF-4A38-B06C-7BAE4529CD04}" srcOrd="0" destOrd="0" parTransId="{7D4D8014-F1DB-411D-A99F-000FBF67510A}" sibTransId="{3AA66E2B-C7F4-4738-B0C6-89117339686D}"/>
    <dgm:cxn modelId="{74EB3631-1047-41B6-AD2E-A4C1E1BFF5A5}" type="presOf" srcId="{E826FA2F-8DF9-4F84-A929-4F0DA138E063}" destId="{66092D74-200C-439C-BC45-FB0319721481}" srcOrd="0" destOrd="0" presId="urn:microsoft.com/office/officeart/2005/8/layout/default"/>
    <dgm:cxn modelId="{63C25332-51A6-480A-82F5-5908EF4A0E34}" type="presOf" srcId="{9318EE55-3B8D-40BB-B3DD-40119884117B}" destId="{66092D74-200C-439C-BC45-FB0319721481}" srcOrd="0" destOrd="4" presId="urn:microsoft.com/office/officeart/2005/8/layout/default"/>
    <dgm:cxn modelId="{76D6AF5C-E1AD-4A4F-88CC-6A5B8ED0C509}" type="presOf" srcId="{AAABA161-B816-48FE-9FF6-403447916EF6}" destId="{988B99C9-8C3B-43DD-B195-DE7699CD3887}" srcOrd="0" destOrd="2" presId="urn:microsoft.com/office/officeart/2005/8/layout/default"/>
    <dgm:cxn modelId="{0FB13262-18F1-41ED-9C19-522F0B93C675}" srcId="{0C05A7D9-4B26-493B-AD17-CF6F474D2605}" destId="{D1140553-0F2C-4E08-A6D7-E96957698816}" srcOrd="0" destOrd="0" parTransId="{953147A8-9B94-4655-872A-C321ED63F359}" sibTransId="{7317062B-F1CA-45AF-ACEC-CF8A4966C4E7}"/>
    <dgm:cxn modelId="{BF865242-1A86-42E3-B017-728C4FC8158C}" type="presOf" srcId="{D83BCC78-D56C-40B2-A4E9-119D217BB84C}" destId="{66092D74-200C-439C-BC45-FB0319721481}" srcOrd="0" destOrd="2" presId="urn:microsoft.com/office/officeart/2005/8/layout/default"/>
    <dgm:cxn modelId="{77D6E244-F0CC-4585-9B6A-56A388DD234F}" type="presOf" srcId="{C15B46CF-86A6-42D1-A495-80BDE3CACF54}" destId="{66092D74-200C-439C-BC45-FB0319721481}" srcOrd="0" destOrd="3" presId="urn:microsoft.com/office/officeart/2005/8/layout/default"/>
    <dgm:cxn modelId="{C6050E4A-AF6E-48D1-A234-7A70B93DF140}" srcId="{03ADAECB-047A-46F4-9200-A29E2B53805A}" destId="{6145CC65-493A-459B-864E-BE0291E3B59B}" srcOrd="2" destOrd="0" parTransId="{7136BF63-0206-4684-85AB-24B66306CC42}" sibTransId="{72680BB3-04FA-41D0-987B-EFEBFE9E86BA}"/>
    <dgm:cxn modelId="{DED08E4E-B3BA-4E0A-B562-DC2617179195}" srcId="{E826FA2F-8DF9-4F84-A929-4F0DA138E063}" destId="{70B2DF44-34FC-4788-9FB5-6B334345058D}" srcOrd="4" destOrd="0" parTransId="{544ED2F1-447B-4D28-B908-B8AA40785393}" sibTransId="{FBB0510E-F978-4063-8359-F3B0AA0F5613}"/>
    <dgm:cxn modelId="{7D6CDC70-F9F4-4C43-ABE1-4A0E7B7CEF52}" type="presOf" srcId="{70B2DF44-34FC-4788-9FB5-6B334345058D}" destId="{66092D74-200C-439C-BC45-FB0319721481}" srcOrd="0" destOrd="5" presId="urn:microsoft.com/office/officeart/2005/8/layout/default"/>
    <dgm:cxn modelId="{99D50774-A0E3-4BA0-BFA6-9EA610A480B0}" srcId="{D1140553-0F2C-4E08-A6D7-E96957698816}" destId="{424F1DCF-E6C8-484E-BBFE-3FD4CF2C4D50}" srcOrd="1" destOrd="0" parTransId="{B0B1209E-36A1-4E04-98E3-7E1EE65124D5}" sibTransId="{5519A9E2-41C9-4E39-8BED-4C67155F3D79}"/>
    <dgm:cxn modelId="{D748B656-C027-4182-8CA8-3FB785500679}" type="presOf" srcId="{0C05A7D9-4B26-493B-AD17-CF6F474D2605}" destId="{4C92CBA6-378A-4AC4-8B81-EBCFC25998B5}" srcOrd="0" destOrd="0" presId="urn:microsoft.com/office/officeart/2005/8/layout/default"/>
    <dgm:cxn modelId="{74EADC7A-C9D5-44AD-A6B7-D6B336AB3525}" type="presOf" srcId="{424F1DCF-E6C8-484E-BBFE-3FD4CF2C4D50}" destId="{EA286E4F-7206-4C05-AD55-DC212A1A5DC4}" srcOrd="0" destOrd="2" presId="urn:microsoft.com/office/officeart/2005/8/layout/default"/>
    <dgm:cxn modelId="{CFAFF57D-93C3-4090-8BB8-796B2CDC8CFB}" srcId="{E826FA2F-8DF9-4F84-A929-4F0DA138E063}" destId="{D83BCC78-D56C-40B2-A4E9-119D217BB84C}" srcOrd="1" destOrd="0" parTransId="{8014555A-0CB7-4C34-ACAE-613E5E6AC076}" sibTransId="{42890CFE-C418-459F-93F0-D743808833AF}"/>
    <dgm:cxn modelId="{5A6E0782-2DFA-4B87-90F8-86D5714DE6FE}" type="presOf" srcId="{D1140553-0F2C-4E08-A6D7-E96957698816}" destId="{EA286E4F-7206-4C05-AD55-DC212A1A5DC4}" srcOrd="0" destOrd="0" presId="urn:microsoft.com/office/officeart/2005/8/layout/default"/>
    <dgm:cxn modelId="{236E6388-8EE0-432B-9FAA-B3B991A4C258}" type="presOf" srcId="{700502CC-08DF-4A38-B06C-7BAE4529CD04}" destId="{988B99C9-8C3B-43DD-B195-DE7699CD3887}" srcOrd="0" destOrd="1" presId="urn:microsoft.com/office/officeart/2005/8/layout/default"/>
    <dgm:cxn modelId="{9BB5858E-9C3B-4BB8-9ED4-BE0F5232DB41}" srcId="{0C05A7D9-4B26-493B-AD17-CF6F474D2605}" destId="{E826FA2F-8DF9-4F84-A929-4F0DA138E063}" srcOrd="2" destOrd="0" parTransId="{998E800D-ECE1-4951-9960-7BDD393DF063}" sibTransId="{ADE3DF73-07D5-4C55-842D-35766D1190D0}"/>
    <dgm:cxn modelId="{C44CE09E-C716-4443-BA4F-5740323199B2}" type="presOf" srcId="{7AD47BAE-9CB4-432C-9257-ACCCDE15C002}" destId="{EA286E4F-7206-4C05-AD55-DC212A1A5DC4}" srcOrd="0" destOrd="1" presId="urn:microsoft.com/office/officeart/2005/8/layout/default"/>
    <dgm:cxn modelId="{59B569AB-0A34-44C7-BECF-60E98E917CC2}" srcId="{03ADAECB-047A-46F4-9200-A29E2B53805A}" destId="{AAABA161-B816-48FE-9FF6-403447916EF6}" srcOrd="1" destOrd="0" parTransId="{9B816D66-BCA5-4EB0-97D2-6A6E68BCB7D8}" sibTransId="{CAF8154D-B656-4A60-911E-7D35FB8AFDAF}"/>
    <dgm:cxn modelId="{F15DE4B0-8642-4A9C-B61A-56192BB23BD6}" srcId="{E826FA2F-8DF9-4F84-A929-4F0DA138E063}" destId="{9BBEF1E3-0CAD-46F1-A1A7-FDD1D2E9A001}" srcOrd="0" destOrd="0" parTransId="{E1A01D08-2A2A-4288-9A6B-4683DB5B102E}" sibTransId="{2F4CA838-9D64-4D04-B928-E4E177D2EFFC}"/>
    <dgm:cxn modelId="{AD32B3B7-A0A3-4F22-96EB-83E188CC6ADD}" srcId="{E826FA2F-8DF9-4F84-A929-4F0DA138E063}" destId="{9318EE55-3B8D-40BB-B3DD-40119884117B}" srcOrd="3" destOrd="0" parTransId="{1C4B42A5-C5B7-4CE0-B56D-8D3A89CD9A8B}" sibTransId="{56FEB4AC-12D6-48A4-92FD-11F459ACEE29}"/>
    <dgm:cxn modelId="{534951BF-8969-430D-A13B-051884C4A0DD}" srcId="{E826FA2F-8DF9-4F84-A929-4F0DA138E063}" destId="{C15B46CF-86A6-42D1-A495-80BDE3CACF54}" srcOrd="2" destOrd="0" parTransId="{D17DCF28-A149-41C4-8F81-35A18B015B57}" sibTransId="{04EE481C-7495-40CE-950B-C4EB510C5DC1}"/>
    <dgm:cxn modelId="{CF802BD5-9642-4A63-B65E-C3D88AFFD2CE}" type="presOf" srcId="{9BBEF1E3-0CAD-46F1-A1A7-FDD1D2E9A001}" destId="{66092D74-200C-439C-BC45-FB0319721481}" srcOrd="0" destOrd="1" presId="urn:microsoft.com/office/officeart/2005/8/layout/default"/>
    <dgm:cxn modelId="{5FBC008D-1203-41B6-BEEE-695E1A2830A9}" type="presParOf" srcId="{4C92CBA6-378A-4AC4-8B81-EBCFC25998B5}" destId="{EA286E4F-7206-4C05-AD55-DC212A1A5DC4}" srcOrd="0" destOrd="0" presId="urn:microsoft.com/office/officeart/2005/8/layout/default"/>
    <dgm:cxn modelId="{14FE72C0-6F41-4A62-B2AC-81B932C65A89}" type="presParOf" srcId="{4C92CBA6-378A-4AC4-8B81-EBCFC25998B5}" destId="{F80C4730-0173-4C1A-9B71-4C9F48B5C63F}" srcOrd="1" destOrd="0" presId="urn:microsoft.com/office/officeart/2005/8/layout/default"/>
    <dgm:cxn modelId="{4F9234B5-CFCB-42EC-834D-B21D1AA5A2B7}" type="presParOf" srcId="{4C92CBA6-378A-4AC4-8B81-EBCFC25998B5}" destId="{988B99C9-8C3B-43DD-B195-DE7699CD3887}" srcOrd="2" destOrd="0" presId="urn:microsoft.com/office/officeart/2005/8/layout/default"/>
    <dgm:cxn modelId="{A275B692-DC22-47E1-B094-AD329B7560EB}" type="presParOf" srcId="{4C92CBA6-378A-4AC4-8B81-EBCFC25998B5}" destId="{8757694E-B58D-42BB-9481-BBB0585FB9A2}" srcOrd="3" destOrd="0" presId="urn:microsoft.com/office/officeart/2005/8/layout/default"/>
    <dgm:cxn modelId="{D6075BCF-10CD-41DE-8F2E-2BA9038E73BB}" type="presParOf" srcId="{4C92CBA6-378A-4AC4-8B81-EBCFC25998B5}" destId="{66092D74-200C-439C-BC45-FB0319721481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F388ED1-67EA-4C52-A4EF-B33800D3CCFC}" type="doc">
      <dgm:prSet loTypeId="urn:microsoft.com/office/officeart/2018/2/layout/IconLabel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4C96D5D-A300-45E1-8162-B0468AA37BF6}" type="parTrans" cxnId="{1A109A01-F64E-41F3-88B7-43EE09527C3B}">
      <dgm:prSet/>
      <dgm:spPr/>
      <dgm:t>
        <a:bodyPr/>
        <a:lstStyle/>
        <a:p>
          <a:endParaRPr lang="en-US"/>
        </a:p>
      </dgm:t>
    </dgm:pt>
    <dgm:pt modelId="{6765D87C-7CC0-41A0-B409-35F7C6713B98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teracciones virtuales</a:t>
          </a:r>
          <a:endParaRPr lang="en-US"/>
        </a:p>
      </dgm:t>
    </dgm:pt>
    <dgm:pt modelId="{4C6C75F7-926F-45DD-9F25-3A9FC1E581A0}" type="sibTrans" cxnId="{1A109A01-F64E-41F3-88B7-43EE09527C3B}">
      <dgm:prSet/>
      <dgm:spPr/>
      <dgm:t>
        <a:bodyPr/>
        <a:lstStyle/>
        <a:p>
          <a:endParaRPr lang="en-US"/>
        </a:p>
      </dgm:t>
    </dgm:pt>
    <dgm:pt modelId="{40235C9D-7692-4244-97C2-DBBB4D4D2FF7}" type="parTrans" cxnId="{AA5B2E0F-E836-4251-9716-E0BDCDB0DF92}">
      <dgm:prSet/>
      <dgm:spPr/>
      <dgm:t>
        <a:bodyPr/>
        <a:lstStyle/>
        <a:p>
          <a:endParaRPr lang="en-US"/>
        </a:p>
      </dgm:t>
    </dgm:pt>
    <dgm:pt modelId="{6231BEAF-70FD-4AEB-A281-E1C3F7CDE657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Fiestas navideñas</a:t>
          </a:r>
          <a:endParaRPr lang="en-US"/>
        </a:p>
      </dgm:t>
    </dgm:pt>
    <dgm:pt modelId="{D81DA91B-005B-4E14-AFDF-C8B3B3160C6B}" type="sibTrans" cxnId="{AA5B2E0F-E836-4251-9716-E0BDCDB0DF92}">
      <dgm:prSet/>
      <dgm:spPr/>
      <dgm:t>
        <a:bodyPr/>
        <a:lstStyle/>
        <a:p>
          <a:endParaRPr lang="en-US"/>
        </a:p>
      </dgm:t>
    </dgm:pt>
    <dgm:pt modelId="{D5730169-979E-469C-ABDC-5BB87EC4A7D0}" type="parTrans" cxnId="{92CBF46B-14B0-45D2-9BC5-F3BCE3F16ABC}">
      <dgm:prSet/>
      <dgm:spPr/>
      <dgm:t>
        <a:bodyPr/>
        <a:lstStyle/>
        <a:p>
          <a:endParaRPr lang="en-US"/>
        </a:p>
      </dgm:t>
    </dgm:pt>
    <dgm:pt modelId="{27B0C93C-65AD-44AE-BD1D-79565B1AB665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midas</a:t>
          </a:r>
          <a:endParaRPr lang="en-US"/>
        </a:p>
      </dgm:t>
    </dgm:pt>
    <dgm:pt modelId="{FFF4DE70-A941-428D-AD23-FDC4AC01E7E7}" type="sibTrans" cxnId="{92CBF46B-14B0-45D2-9BC5-F3BCE3F16ABC}">
      <dgm:prSet/>
      <dgm:spPr/>
      <dgm:t>
        <a:bodyPr/>
        <a:lstStyle/>
        <a:p>
          <a:endParaRPr lang="en-US"/>
        </a:p>
      </dgm:t>
    </dgm:pt>
    <dgm:pt modelId="{6BBA676C-6505-47E3-B24D-7F015100F287}" type="parTrans" cxnId="{23BD6E13-56BA-48C0-95F2-2CAECFB4AD95}">
      <dgm:prSet/>
      <dgm:spPr/>
      <dgm:t>
        <a:bodyPr/>
        <a:lstStyle/>
        <a:p>
          <a:endParaRPr lang="en-US"/>
        </a:p>
      </dgm:t>
    </dgm:pt>
    <dgm:pt modelId="{97980F97-FD8E-4850-8583-B12FD0A71EDD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ferencias y ferias comerciales</a:t>
          </a:r>
          <a:endParaRPr lang="en-US"/>
        </a:p>
      </dgm:t>
    </dgm:pt>
    <dgm:pt modelId="{07441A10-64D9-4416-B8F3-0938FE902A71}" type="sibTrans" cxnId="{23BD6E13-56BA-48C0-95F2-2CAECFB4AD95}">
      <dgm:prSet/>
      <dgm:spPr/>
      <dgm:t>
        <a:bodyPr/>
        <a:lstStyle/>
        <a:p>
          <a:endParaRPr lang="en-US"/>
        </a:p>
      </dgm:t>
    </dgm:pt>
    <dgm:pt modelId="{DFC14506-07D7-4BAC-AF9E-C1E3B04DA640}" type="parTrans" cxnId="{C28D25B6-3A2A-4883-B4EF-4E1D12FA10D3}">
      <dgm:prSet/>
      <dgm:spPr/>
      <dgm:t>
        <a:bodyPr/>
        <a:lstStyle/>
        <a:p>
          <a:endParaRPr lang="en-US"/>
        </a:p>
      </dgm:t>
    </dgm:pt>
    <dgm:pt modelId="{349FD996-44AE-4207-8571-5AD7FE467F82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Viajes de negocios</a:t>
          </a:r>
          <a:endParaRPr lang="en-US"/>
        </a:p>
      </dgm:t>
    </dgm:pt>
    <dgm:pt modelId="{429D8192-9264-4781-9A0B-4D8DF4D0516E}" type="sibTrans" cxnId="{C28D25B6-3A2A-4883-B4EF-4E1D12FA10D3}">
      <dgm:prSet/>
      <dgm:spPr/>
      <dgm:t>
        <a:bodyPr/>
        <a:lstStyle/>
        <a:p>
          <a:endParaRPr lang="en-US"/>
        </a:p>
      </dgm:t>
    </dgm:pt>
    <dgm:pt modelId="{5955E5F5-4EA7-43CB-959C-41431C3D878F}" type="parTrans" cxnId="{15262EF4-924F-4C9A-8560-08029D4FF628}">
      <dgm:prSet/>
      <dgm:spPr/>
      <dgm:t>
        <a:bodyPr/>
        <a:lstStyle/>
        <a:p>
          <a:endParaRPr lang="en-US"/>
        </a:p>
      </dgm:t>
    </dgm:pt>
    <dgm:pt modelId="{253C37E7-9A9E-4D16-802A-A24456CEAAE1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es-LA" sz="1700" b="0" i="0" strike="noStrike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bajadores remotos y en el hogar</a:t>
          </a:r>
          <a:endParaRPr lang="en-US"/>
        </a:p>
      </dgm:t>
    </dgm:pt>
    <dgm:pt modelId="{FE96DB33-C5B7-4DEB-82B2-0B1CE90A4D2B}" type="sibTrans" cxnId="{15262EF4-924F-4C9A-8560-08029D4FF628}">
      <dgm:prSet/>
      <dgm:spPr/>
      <dgm:t>
        <a:bodyPr/>
        <a:lstStyle/>
        <a:p>
          <a:endParaRPr lang="en-US"/>
        </a:p>
      </dgm:t>
    </dgm:pt>
    <dgm:pt modelId="{C3088A38-995F-4EC6-9F78-BAFAEAF4162C}" type="pres">
      <dgm:prSet presAssocID="{3F388ED1-67EA-4C52-A4EF-B33800D3CCFC}" presName="root" presStyleCnt="0">
        <dgm:presLayoutVars>
          <dgm:dir/>
          <dgm:resizeHandles val="exact"/>
        </dgm:presLayoutVars>
      </dgm:prSet>
      <dgm:spPr/>
    </dgm:pt>
    <dgm:pt modelId="{D05E4E73-9587-4A56-B8AA-2D6161B9C368}" type="pres">
      <dgm:prSet presAssocID="{6765D87C-7CC0-41A0-B409-35F7C6713B98}" presName="compNode" presStyleCnt="0"/>
      <dgm:spPr/>
    </dgm:pt>
    <dgm:pt modelId="{D99A27DE-1A9D-4CFC-BE2E-D6325D4C73B2}" type="pres">
      <dgm:prSet presAssocID="{6765D87C-7CC0-41A0-B409-35F7C6713B98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all center"/>
        </a:ext>
      </dgm:extLst>
    </dgm:pt>
    <dgm:pt modelId="{8667B507-D177-4EC0-A407-1521B796D904}" type="pres">
      <dgm:prSet presAssocID="{6765D87C-7CC0-41A0-B409-35F7C6713B98}" presName="spaceRect" presStyleCnt="0"/>
      <dgm:spPr/>
    </dgm:pt>
    <dgm:pt modelId="{79FCE879-EDA8-4A56-B9E8-3934B4682EB9}" type="pres">
      <dgm:prSet presAssocID="{6765D87C-7CC0-41A0-B409-35F7C6713B98}" presName="textRect" presStyleLbl="revTx" presStyleIdx="0" presStyleCnt="6">
        <dgm:presLayoutVars>
          <dgm:chMax val="1"/>
          <dgm:chPref val="1"/>
        </dgm:presLayoutVars>
      </dgm:prSet>
      <dgm:spPr/>
    </dgm:pt>
    <dgm:pt modelId="{6E752127-53E6-4E86-8330-1CDB423EB111}" type="pres">
      <dgm:prSet presAssocID="{4C6C75F7-926F-45DD-9F25-3A9FC1E581A0}" presName="sibTrans" presStyleCnt="0"/>
      <dgm:spPr/>
    </dgm:pt>
    <dgm:pt modelId="{4425BB72-67F0-47AF-9B82-CA0521543AF0}" type="pres">
      <dgm:prSet presAssocID="{6231BEAF-70FD-4AEB-A281-E1C3F7CDE657}" presName="compNode" presStyleCnt="0"/>
      <dgm:spPr/>
    </dgm:pt>
    <dgm:pt modelId="{B02E9D7E-F6E6-43AD-AAC9-B8DAE5007E4C}" type="pres">
      <dgm:prSet presAssocID="{6231BEAF-70FD-4AEB-A281-E1C3F7CDE657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esent"/>
        </a:ext>
      </dgm:extLst>
    </dgm:pt>
    <dgm:pt modelId="{47A43DDC-EDCF-451A-BC7A-3BA7127C9D9D}" type="pres">
      <dgm:prSet presAssocID="{6231BEAF-70FD-4AEB-A281-E1C3F7CDE657}" presName="spaceRect" presStyleCnt="0"/>
      <dgm:spPr/>
    </dgm:pt>
    <dgm:pt modelId="{C645D0FB-691D-4DD1-A770-EFD951B22D94}" type="pres">
      <dgm:prSet presAssocID="{6231BEAF-70FD-4AEB-A281-E1C3F7CDE657}" presName="textRect" presStyleLbl="revTx" presStyleIdx="1" presStyleCnt="6">
        <dgm:presLayoutVars>
          <dgm:chMax val="1"/>
          <dgm:chPref val="1"/>
        </dgm:presLayoutVars>
      </dgm:prSet>
      <dgm:spPr/>
    </dgm:pt>
    <dgm:pt modelId="{81722C06-5ED7-488E-B671-DA04CF4D005E}" type="pres">
      <dgm:prSet presAssocID="{D81DA91B-005B-4E14-AFDF-C8B3B3160C6B}" presName="sibTrans" presStyleCnt="0"/>
      <dgm:spPr/>
    </dgm:pt>
    <dgm:pt modelId="{492226F2-ECB5-4A9A-83B3-1D3658F8ECC7}" type="pres">
      <dgm:prSet presAssocID="{27B0C93C-65AD-44AE-BD1D-79565B1AB665}" presName="compNode" presStyleCnt="0"/>
      <dgm:spPr/>
    </dgm:pt>
    <dgm:pt modelId="{4E3EF8FC-D81C-4C6A-806C-EA4743F4BA77}" type="pres">
      <dgm:prSet presAssocID="{27B0C93C-65AD-44AE-BD1D-79565B1AB665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ork and knife"/>
        </a:ext>
      </dgm:extLst>
    </dgm:pt>
    <dgm:pt modelId="{28B72FB2-153D-41A2-BD5A-3D59DFAA907C}" type="pres">
      <dgm:prSet presAssocID="{27B0C93C-65AD-44AE-BD1D-79565B1AB665}" presName="spaceRect" presStyleCnt="0"/>
      <dgm:spPr/>
    </dgm:pt>
    <dgm:pt modelId="{055E8662-2533-42D8-B4B8-521917D7DEAC}" type="pres">
      <dgm:prSet presAssocID="{27B0C93C-65AD-44AE-BD1D-79565B1AB665}" presName="textRect" presStyleLbl="revTx" presStyleIdx="2" presStyleCnt="6">
        <dgm:presLayoutVars>
          <dgm:chMax val="1"/>
          <dgm:chPref val="1"/>
        </dgm:presLayoutVars>
      </dgm:prSet>
      <dgm:spPr/>
    </dgm:pt>
    <dgm:pt modelId="{F24FB88B-8951-44CD-B4BE-2C3E45E0842B}" type="pres">
      <dgm:prSet presAssocID="{FFF4DE70-A941-428D-AD23-FDC4AC01E7E7}" presName="sibTrans" presStyleCnt="0"/>
      <dgm:spPr/>
    </dgm:pt>
    <dgm:pt modelId="{01DDB054-2946-4508-A072-B38236E42C83}" type="pres">
      <dgm:prSet presAssocID="{97980F97-FD8E-4850-8583-B12FD0A71EDD}" presName="compNode" presStyleCnt="0"/>
      <dgm:spPr/>
    </dgm:pt>
    <dgm:pt modelId="{57CC4C62-BD4B-45BD-83D8-0A29B71FFADD}" type="pres">
      <dgm:prSet presAssocID="{97980F97-FD8E-4850-8583-B12FD0A71EDD}" presName="iconRect" presStyleLbl="node1" presStyleIdx="3" presStyleCnt="6" custLinFactNeighborX="9279" custLinFactNeighborY="1136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86E0AAC4-6666-4366-86EF-3252C8C6CA8F}" type="pres">
      <dgm:prSet presAssocID="{97980F97-FD8E-4850-8583-B12FD0A71EDD}" presName="spaceRect" presStyleCnt="0"/>
      <dgm:spPr/>
    </dgm:pt>
    <dgm:pt modelId="{C247C313-91DA-4206-839D-B34E91EFC201}" type="pres">
      <dgm:prSet presAssocID="{97980F97-FD8E-4850-8583-B12FD0A71EDD}" presName="textRect" presStyleLbl="revTx" presStyleIdx="3" presStyleCnt="6" custLinFactNeighborX="3574" custLinFactNeighborY="-6017">
        <dgm:presLayoutVars>
          <dgm:chMax val="1"/>
          <dgm:chPref val="1"/>
        </dgm:presLayoutVars>
      </dgm:prSet>
      <dgm:spPr/>
    </dgm:pt>
    <dgm:pt modelId="{C71F7B83-B8BC-43D9-B497-AE47E4C88717}" type="pres">
      <dgm:prSet presAssocID="{07441A10-64D9-4416-B8F3-0938FE902A71}" presName="sibTrans" presStyleCnt="0"/>
      <dgm:spPr/>
    </dgm:pt>
    <dgm:pt modelId="{5695538A-F7DD-43EC-A3B0-2C1F8C3AF035}" type="pres">
      <dgm:prSet presAssocID="{349FD996-44AE-4207-8571-5AD7FE467F82}" presName="compNode" presStyleCnt="0"/>
      <dgm:spPr/>
    </dgm:pt>
    <dgm:pt modelId="{E86A0C04-E9B4-4015-A6A8-3FB1046B29CE}" type="pres">
      <dgm:prSet presAssocID="{349FD996-44AE-4207-8571-5AD7FE467F82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Airplane"/>
        </a:ext>
      </dgm:extLst>
    </dgm:pt>
    <dgm:pt modelId="{D2D79CFB-0CF4-4C0C-BEB0-EA6D92F581EA}" type="pres">
      <dgm:prSet presAssocID="{349FD996-44AE-4207-8571-5AD7FE467F82}" presName="spaceRect" presStyleCnt="0"/>
      <dgm:spPr/>
    </dgm:pt>
    <dgm:pt modelId="{4218699A-9F44-43C4-BACD-AFA07472911A}" type="pres">
      <dgm:prSet presAssocID="{349FD996-44AE-4207-8571-5AD7FE467F82}" presName="textRect" presStyleLbl="revTx" presStyleIdx="4" presStyleCnt="6">
        <dgm:presLayoutVars>
          <dgm:chMax val="1"/>
          <dgm:chPref val="1"/>
        </dgm:presLayoutVars>
      </dgm:prSet>
      <dgm:spPr/>
    </dgm:pt>
    <dgm:pt modelId="{0054ECED-2F46-4FA7-AC87-F6DA2C7F139B}" type="pres">
      <dgm:prSet presAssocID="{429D8192-9264-4781-9A0B-4D8DF4D0516E}" presName="sibTrans" presStyleCnt="0"/>
      <dgm:spPr/>
    </dgm:pt>
    <dgm:pt modelId="{07CB86F6-7387-449F-BCEA-84E42CC7E22F}" type="pres">
      <dgm:prSet presAssocID="{253C37E7-9A9E-4D16-802A-A24456CEAAE1}" presName="compNode" presStyleCnt="0"/>
      <dgm:spPr/>
    </dgm:pt>
    <dgm:pt modelId="{5421B5D6-8F0B-4CBE-B7B3-DBCDD202F370}" type="pres">
      <dgm:prSet presAssocID="{253C37E7-9A9E-4D16-802A-A24456CEAAE1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itor"/>
        </a:ext>
      </dgm:extLst>
    </dgm:pt>
    <dgm:pt modelId="{EBBF4D40-2EF1-4012-ABEC-74915D189F7E}" type="pres">
      <dgm:prSet presAssocID="{253C37E7-9A9E-4D16-802A-A24456CEAAE1}" presName="spaceRect" presStyleCnt="0"/>
      <dgm:spPr/>
    </dgm:pt>
    <dgm:pt modelId="{F8CD23AD-0F84-4328-BCA7-961CDC0F9CC6}" type="pres">
      <dgm:prSet presAssocID="{253C37E7-9A9E-4D16-802A-A24456CEAAE1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1A109A01-F64E-41F3-88B7-43EE09527C3B}" srcId="{3F388ED1-67EA-4C52-A4EF-B33800D3CCFC}" destId="{6765D87C-7CC0-41A0-B409-35F7C6713B98}" srcOrd="0" destOrd="0" parTransId="{24C96D5D-A300-45E1-8162-B0468AA37BF6}" sibTransId="{4C6C75F7-926F-45DD-9F25-3A9FC1E581A0}"/>
    <dgm:cxn modelId="{AA5B2E0F-E836-4251-9716-E0BDCDB0DF92}" srcId="{3F388ED1-67EA-4C52-A4EF-B33800D3CCFC}" destId="{6231BEAF-70FD-4AEB-A281-E1C3F7CDE657}" srcOrd="1" destOrd="0" parTransId="{40235C9D-7692-4244-97C2-DBBB4D4D2FF7}" sibTransId="{D81DA91B-005B-4E14-AFDF-C8B3B3160C6B}"/>
    <dgm:cxn modelId="{23BD6E13-56BA-48C0-95F2-2CAECFB4AD95}" srcId="{3F388ED1-67EA-4C52-A4EF-B33800D3CCFC}" destId="{97980F97-FD8E-4850-8583-B12FD0A71EDD}" srcOrd="3" destOrd="0" parTransId="{6BBA676C-6505-47E3-B24D-7F015100F287}" sibTransId="{07441A10-64D9-4416-B8F3-0938FE902A71}"/>
    <dgm:cxn modelId="{92CBF46B-14B0-45D2-9BC5-F3BCE3F16ABC}" srcId="{3F388ED1-67EA-4C52-A4EF-B33800D3CCFC}" destId="{27B0C93C-65AD-44AE-BD1D-79565B1AB665}" srcOrd="2" destOrd="0" parTransId="{D5730169-979E-469C-ABDC-5BB87EC4A7D0}" sibTransId="{FFF4DE70-A941-428D-AD23-FDC4AC01E7E7}"/>
    <dgm:cxn modelId="{076EDF58-34C3-4CAB-B4DB-8910D593FA9F}" type="presOf" srcId="{6231BEAF-70FD-4AEB-A281-E1C3F7CDE657}" destId="{C645D0FB-691D-4DD1-A770-EFD951B22D94}" srcOrd="0" destOrd="0" presId="urn:microsoft.com/office/officeart/2018/2/layout/IconLabelList"/>
    <dgm:cxn modelId="{4144EF58-3AD1-42E1-AF45-FD91E877AEEE}" type="presOf" srcId="{349FD996-44AE-4207-8571-5AD7FE467F82}" destId="{4218699A-9F44-43C4-BACD-AFA07472911A}" srcOrd="0" destOrd="0" presId="urn:microsoft.com/office/officeart/2018/2/layout/IconLabelList"/>
    <dgm:cxn modelId="{832A4F8F-43C6-4914-B633-A34482ADD1C7}" type="presOf" srcId="{253C37E7-9A9E-4D16-802A-A24456CEAAE1}" destId="{F8CD23AD-0F84-4328-BCA7-961CDC0F9CC6}" srcOrd="0" destOrd="0" presId="urn:microsoft.com/office/officeart/2018/2/layout/IconLabelList"/>
    <dgm:cxn modelId="{55A216A1-98C2-4D7A-B9B5-D0436D5E8BE2}" type="presOf" srcId="{3F388ED1-67EA-4C52-A4EF-B33800D3CCFC}" destId="{C3088A38-995F-4EC6-9F78-BAFAEAF4162C}" srcOrd="0" destOrd="0" presId="urn:microsoft.com/office/officeart/2018/2/layout/IconLabelList"/>
    <dgm:cxn modelId="{C28D25B6-3A2A-4883-B4EF-4E1D12FA10D3}" srcId="{3F388ED1-67EA-4C52-A4EF-B33800D3CCFC}" destId="{349FD996-44AE-4207-8571-5AD7FE467F82}" srcOrd="4" destOrd="0" parTransId="{DFC14506-07D7-4BAC-AF9E-C1E3B04DA640}" sibTransId="{429D8192-9264-4781-9A0B-4D8DF4D0516E}"/>
    <dgm:cxn modelId="{FFE5ACB8-D3AE-4FC8-B21B-A975B6FDBEB4}" type="presOf" srcId="{27B0C93C-65AD-44AE-BD1D-79565B1AB665}" destId="{055E8662-2533-42D8-B4B8-521917D7DEAC}" srcOrd="0" destOrd="0" presId="urn:microsoft.com/office/officeart/2018/2/layout/IconLabelList"/>
    <dgm:cxn modelId="{B123BDCD-8652-4B6D-BE99-2A4429A72FE4}" type="presOf" srcId="{6765D87C-7CC0-41A0-B409-35F7C6713B98}" destId="{79FCE879-EDA8-4A56-B9E8-3934B4682EB9}" srcOrd="0" destOrd="0" presId="urn:microsoft.com/office/officeart/2018/2/layout/IconLabelList"/>
    <dgm:cxn modelId="{15262EF4-924F-4C9A-8560-08029D4FF628}" srcId="{3F388ED1-67EA-4C52-A4EF-B33800D3CCFC}" destId="{253C37E7-9A9E-4D16-802A-A24456CEAAE1}" srcOrd="5" destOrd="0" parTransId="{5955E5F5-4EA7-43CB-959C-41431C3D878F}" sibTransId="{FE96DB33-C5B7-4DEB-82B2-0B1CE90A4D2B}"/>
    <dgm:cxn modelId="{F9C982FC-5DE6-4C42-A09A-C337AE98A866}" type="presOf" srcId="{97980F97-FD8E-4850-8583-B12FD0A71EDD}" destId="{C247C313-91DA-4206-839D-B34E91EFC201}" srcOrd="0" destOrd="0" presId="urn:microsoft.com/office/officeart/2018/2/layout/IconLabelList"/>
    <dgm:cxn modelId="{08F83779-09CA-4924-BBA1-72B4617B7E38}" type="presParOf" srcId="{C3088A38-995F-4EC6-9F78-BAFAEAF4162C}" destId="{D05E4E73-9587-4A56-B8AA-2D6161B9C368}" srcOrd="0" destOrd="0" presId="urn:microsoft.com/office/officeart/2018/2/layout/IconLabelList"/>
    <dgm:cxn modelId="{2872E035-A48F-467D-8FF7-C44C67D9A17C}" type="presParOf" srcId="{D05E4E73-9587-4A56-B8AA-2D6161B9C368}" destId="{D99A27DE-1A9D-4CFC-BE2E-D6325D4C73B2}" srcOrd="0" destOrd="0" presId="urn:microsoft.com/office/officeart/2018/2/layout/IconLabelList"/>
    <dgm:cxn modelId="{D606A472-6F6B-46E9-A001-A219917EFEEF}" type="presParOf" srcId="{D05E4E73-9587-4A56-B8AA-2D6161B9C368}" destId="{8667B507-D177-4EC0-A407-1521B796D904}" srcOrd="1" destOrd="0" presId="urn:microsoft.com/office/officeart/2018/2/layout/IconLabelList"/>
    <dgm:cxn modelId="{B5A7E5E5-CE72-45C8-BD0E-2F838F626B3C}" type="presParOf" srcId="{D05E4E73-9587-4A56-B8AA-2D6161B9C368}" destId="{79FCE879-EDA8-4A56-B9E8-3934B4682EB9}" srcOrd="2" destOrd="0" presId="urn:microsoft.com/office/officeart/2018/2/layout/IconLabelList"/>
    <dgm:cxn modelId="{95F53EAC-3E29-470D-9981-C7D3F45C8F7F}" type="presParOf" srcId="{C3088A38-995F-4EC6-9F78-BAFAEAF4162C}" destId="{6E752127-53E6-4E86-8330-1CDB423EB111}" srcOrd="1" destOrd="0" presId="urn:microsoft.com/office/officeart/2018/2/layout/IconLabelList"/>
    <dgm:cxn modelId="{E5E1A88E-6436-4817-A1FD-65D8ACE482C4}" type="presParOf" srcId="{C3088A38-995F-4EC6-9F78-BAFAEAF4162C}" destId="{4425BB72-67F0-47AF-9B82-CA0521543AF0}" srcOrd="2" destOrd="0" presId="urn:microsoft.com/office/officeart/2018/2/layout/IconLabelList"/>
    <dgm:cxn modelId="{28160EE7-C8B4-481C-9290-1516D8382CFF}" type="presParOf" srcId="{4425BB72-67F0-47AF-9B82-CA0521543AF0}" destId="{B02E9D7E-F6E6-43AD-AAC9-B8DAE5007E4C}" srcOrd="0" destOrd="0" presId="urn:microsoft.com/office/officeart/2018/2/layout/IconLabelList"/>
    <dgm:cxn modelId="{19145F70-D123-4CCA-BA64-B55C8D78F8F5}" type="presParOf" srcId="{4425BB72-67F0-47AF-9B82-CA0521543AF0}" destId="{47A43DDC-EDCF-451A-BC7A-3BA7127C9D9D}" srcOrd="1" destOrd="0" presId="urn:microsoft.com/office/officeart/2018/2/layout/IconLabelList"/>
    <dgm:cxn modelId="{E690C107-7E50-4B8A-AD75-569C331BD5B0}" type="presParOf" srcId="{4425BB72-67F0-47AF-9B82-CA0521543AF0}" destId="{C645D0FB-691D-4DD1-A770-EFD951B22D94}" srcOrd="2" destOrd="0" presId="urn:microsoft.com/office/officeart/2018/2/layout/IconLabelList"/>
    <dgm:cxn modelId="{AB8235DB-B9E0-4A16-8E62-FAD399FE0916}" type="presParOf" srcId="{C3088A38-995F-4EC6-9F78-BAFAEAF4162C}" destId="{81722C06-5ED7-488E-B671-DA04CF4D005E}" srcOrd="3" destOrd="0" presId="urn:microsoft.com/office/officeart/2018/2/layout/IconLabelList"/>
    <dgm:cxn modelId="{95D8B6DF-DB7D-4488-BAC3-99F61C3CFE94}" type="presParOf" srcId="{C3088A38-995F-4EC6-9F78-BAFAEAF4162C}" destId="{492226F2-ECB5-4A9A-83B3-1D3658F8ECC7}" srcOrd="4" destOrd="0" presId="urn:microsoft.com/office/officeart/2018/2/layout/IconLabelList"/>
    <dgm:cxn modelId="{7496FE7A-1943-4152-A6C7-BB79F0B0A0AB}" type="presParOf" srcId="{492226F2-ECB5-4A9A-83B3-1D3658F8ECC7}" destId="{4E3EF8FC-D81C-4C6A-806C-EA4743F4BA77}" srcOrd="0" destOrd="0" presId="urn:microsoft.com/office/officeart/2018/2/layout/IconLabelList"/>
    <dgm:cxn modelId="{DC53AB08-20A5-493B-82F1-4AC5346728B3}" type="presParOf" srcId="{492226F2-ECB5-4A9A-83B3-1D3658F8ECC7}" destId="{28B72FB2-153D-41A2-BD5A-3D59DFAA907C}" srcOrd="1" destOrd="0" presId="urn:microsoft.com/office/officeart/2018/2/layout/IconLabelList"/>
    <dgm:cxn modelId="{DE1C9E62-911A-41F0-9D0A-74AA667411A6}" type="presParOf" srcId="{492226F2-ECB5-4A9A-83B3-1D3658F8ECC7}" destId="{055E8662-2533-42D8-B4B8-521917D7DEAC}" srcOrd="2" destOrd="0" presId="urn:microsoft.com/office/officeart/2018/2/layout/IconLabelList"/>
    <dgm:cxn modelId="{F4093610-9667-4DD6-91D0-8BFD1B80716C}" type="presParOf" srcId="{C3088A38-995F-4EC6-9F78-BAFAEAF4162C}" destId="{F24FB88B-8951-44CD-B4BE-2C3E45E0842B}" srcOrd="5" destOrd="0" presId="urn:microsoft.com/office/officeart/2018/2/layout/IconLabelList"/>
    <dgm:cxn modelId="{9C9E4521-45D4-44C0-8829-2318E283DBC4}" type="presParOf" srcId="{C3088A38-995F-4EC6-9F78-BAFAEAF4162C}" destId="{01DDB054-2946-4508-A072-B38236E42C83}" srcOrd="6" destOrd="0" presId="urn:microsoft.com/office/officeart/2018/2/layout/IconLabelList"/>
    <dgm:cxn modelId="{CD7CEA48-6201-46B6-8DDA-D97C1D461C5E}" type="presParOf" srcId="{01DDB054-2946-4508-A072-B38236E42C83}" destId="{57CC4C62-BD4B-45BD-83D8-0A29B71FFADD}" srcOrd="0" destOrd="0" presId="urn:microsoft.com/office/officeart/2018/2/layout/IconLabelList"/>
    <dgm:cxn modelId="{0285B92C-A492-43AE-8CC2-B81369611A2D}" type="presParOf" srcId="{01DDB054-2946-4508-A072-B38236E42C83}" destId="{86E0AAC4-6666-4366-86EF-3252C8C6CA8F}" srcOrd="1" destOrd="0" presId="urn:microsoft.com/office/officeart/2018/2/layout/IconLabelList"/>
    <dgm:cxn modelId="{A6ABCC59-FC55-4DA5-8ABB-CB7F74562325}" type="presParOf" srcId="{01DDB054-2946-4508-A072-B38236E42C83}" destId="{C247C313-91DA-4206-839D-B34E91EFC201}" srcOrd="2" destOrd="0" presId="urn:microsoft.com/office/officeart/2018/2/layout/IconLabelList"/>
    <dgm:cxn modelId="{21D29C67-0F0E-4903-8814-5C9A4DD6DD68}" type="presParOf" srcId="{C3088A38-995F-4EC6-9F78-BAFAEAF4162C}" destId="{C71F7B83-B8BC-43D9-B497-AE47E4C88717}" srcOrd="7" destOrd="0" presId="urn:microsoft.com/office/officeart/2018/2/layout/IconLabelList"/>
    <dgm:cxn modelId="{2919BA97-EEBF-42DC-BB1A-FE2DA7C51F2C}" type="presParOf" srcId="{C3088A38-995F-4EC6-9F78-BAFAEAF4162C}" destId="{5695538A-F7DD-43EC-A3B0-2C1F8C3AF035}" srcOrd="8" destOrd="0" presId="urn:microsoft.com/office/officeart/2018/2/layout/IconLabelList"/>
    <dgm:cxn modelId="{329058FB-D9E4-42F0-BBB1-870579E7DD18}" type="presParOf" srcId="{5695538A-F7DD-43EC-A3B0-2C1F8C3AF035}" destId="{E86A0C04-E9B4-4015-A6A8-3FB1046B29CE}" srcOrd="0" destOrd="0" presId="urn:microsoft.com/office/officeart/2018/2/layout/IconLabelList"/>
    <dgm:cxn modelId="{FA8DE4F8-8DD8-42ED-811C-6E7F5D9B872B}" type="presParOf" srcId="{5695538A-F7DD-43EC-A3B0-2C1F8C3AF035}" destId="{D2D79CFB-0CF4-4C0C-BEB0-EA6D92F581EA}" srcOrd="1" destOrd="0" presId="urn:microsoft.com/office/officeart/2018/2/layout/IconLabelList"/>
    <dgm:cxn modelId="{0F82BAB3-4EB3-4B87-9404-1453CC71FE56}" type="presParOf" srcId="{5695538A-F7DD-43EC-A3B0-2C1F8C3AF035}" destId="{4218699A-9F44-43C4-BACD-AFA07472911A}" srcOrd="2" destOrd="0" presId="urn:microsoft.com/office/officeart/2018/2/layout/IconLabelList"/>
    <dgm:cxn modelId="{2A35B4B9-F468-4334-B393-2A983CF386FC}" type="presParOf" srcId="{C3088A38-995F-4EC6-9F78-BAFAEAF4162C}" destId="{0054ECED-2F46-4FA7-AC87-F6DA2C7F139B}" srcOrd="9" destOrd="0" presId="urn:microsoft.com/office/officeart/2018/2/layout/IconLabelList"/>
    <dgm:cxn modelId="{66917FA9-FB6E-424A-A810-8518C8F05D14}" type="presParOf" srcId="{C3088A38-995F-4EC6-9F78-BAFAEAF4162C}" destId="{07CB86F6-7387-449F-BCEA-84E42CC7E22F}" srcOrd="10" destOrd="0" presId="urn:microsoft.com/office/officeart/2018/2/layout/IconLabelList"/>
    <dgm:cxn modelId="{B765963D-860D-4A33-9F44-F66738B67452}" type="presParOf" srcId="{07CB86F6-7387-449F-BCEA-84E42CC7E22F}" destId="{5421B5D6-8F0B-4CBE-B7B3-DBCDD202F370}" srcOrd="0" destOrd="0" presId="urn:microsoft.com/office/officeart/2018/2/layout/IconLabelList"/>
    <dgm:cxn modelId="{AF4E7120-74E4-4E1D-93A7-46347E0A889F}" type="presParOf" srcId="{07CB86F6-7387-449F-BCEA-84E42CC7E22F}" destId="{EBBF4D40-2EF1-4012-ABEC-74915D189F7E}" srcOrd="1" destOrd="0" presId="urn:microsoft.com/office/officeart/2018/2/layout/IconLabelList"/>
    <dgm:cxn modelId="{0AB04DB8-30AE-4766-8784-F59EFDCBB364}" type="presParOf" srcId="{07CB86F6-7387-449F-BCEA-84E42CC7E22F}" destId="{F8CD23AD-0F84-4328-BCA7-961CDC0F9CC6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BCA4F3-8F30-418C-9B3B-9FAE6FBB2AFD}">
      <dsp:nvSpPr>
        <dsp:cNvPr id="0" name=""/>
        <dsp:cNvSpPr/>
      </dsp:nvSpPr>
      <dsp:spPr>
        <a:xfrm>
          <a:off x="0" y="2009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1DE14D-271D-4E48-A734-F66D4AA6B04D}">
      <dsp:nvSpPr>
        <dsp:cNvPr id="0" name=""/>
        <dsp:cNvSpPr/>
      </dsp:nvSpPr>
      <dsp:spPr>
        <a:xfrm>
          <a:off x="308107" y="231180"/>
          <a:ext cx="560195" cy="56019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EBE8A2-D7D4-4676-91C2-0669EA92AE50}">
      <dsp:nvSpPr>
        <dsp:cNvPr id="0" name=""/>
        <dsp:cNvSpPr/>
      </dsp:nvSpPr>
      <dsp:spPr>
        <a:xfrm>
          <a:off x="1176411" y="2009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dos quieren ser parte de un equipo que sea respetuoso y exitoso</a:t>
          </a:r>
          <a:endParaRPr lang="en-US" kern="1200"/>
        </a:p>
      </dsp:txBody>
      <dsp:txXfrm>
        <a:off x="1176411" y="2009"/>
        <a:ext cx="6898424" cy="1018537"/>
      </dsp:txXfrm>
    </dsp:sp>
    <dsp:sp modelId="{62399D1D-6A37-4655-9B96-57525ECC5F52}">
      <dsp:nvSpPr>
        <dsp:cNvPr id="0" name=""/>
        <dsp:cNvSpPr/>
      </dsp:nvSpPr>
      <dsp:spPr>
        <a:xfrm>
          <a:off x="0" y="1275181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1AAD55-36A6-40B9-B55F-EEF840079F1A}">
      <dsp:nvSpPr>
        <dsp:cNvPr id="0" name=""/>
        <dsp:cNvSpPr/>
      </dsp:nvSpPr>
      <dsp:spPr>
        <a:xfrm>
          <a:off x="308107" y="1504352"/>
          <a:ext cx="560195" cy="56019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9238B2-9DB9-4BD7-8219-1D04AF10EADE}">
      <dsp:nvSpPr>
        <dsp:cNvPr id="0" name=""/>
        <dsp:cNvSpPr/>
      </dsp:nvSpPr>
      <dsp:spPr>
        <a:xfrm>
          <a:off x="1176411" y="1275181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l V&amp;E de 168 mantiene los principios de prevención de la discriminación y el acoso, lo que requiere el compromiso de todos</a:t>
          </a:r>
          <a:endParaRPr lang="en-US" kern="1200"/>
        </a:p>
      </dsp:txBody>
      <dsp:txXfrm>
        <a:off x="1176411" y="1275181"/>
        <a:ext cx="6898424" cy="1018537"/>
      </dsp:txXfrm>
    </dsp:sp>
    <dsp:sp modelId="{2194DC87-0EB3-47A9-A710-50B67ABE9595}">
      <dsp:nvSpPr>
        <dsp:cNvPr id="0" name=""/>
        <dsp:cNvSpPr/>
      </dsp:nvSpPr>
      <dsp:spPr>
        <a:xfrm>
          <a:off x="0" y="2548354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043F58-D2C7-4873-8DE7-E85D1568F29E}">
      <dsp:nvSpPr>
        <dsp:cNvPr id="0" name=""/>
        <dsp:cNvSpPr/>
      </dsp:nvSpPr>
      <dsp:spPr>
        <a:xfrm>
          <a:off x="308107" y="2777525"/>
          <a:ext cx="560195" cy="56019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1693E8-D0B4-4833-BD20-F0400943806F}">
      <dsp:nvSpPr>
        <dsp:cNvPr id="0" name=""/>
        <dsp:cNvSpPr/>
      </dsp:nvSpPr>
      <dsp:spPr>
        <a:xfrm>
          <a:off x="1176411" y="2548354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PM no tolera la falta de respeto, el acoso ni la discriminación de ninguna forma.</a:t>
          </a:r>
          <a:endParaRPr lang="en-US" kern="1200"/>
        </a:p>
      </dsp:txBody>
      <dsp:txXfrm>
        <a:off x="1176411" y="2548354"/>
        <a:ext cx="6898424" cy="1018537"/>
      </dsp:txXfrm>
    </dsp:sp>
    <dsp:sp modelId="{AEF938DC-0277-4425-B5AA-B6E145ABDF3E}">
      <dsp:nvSpPr>
        <dsp:cNvPr id="0" name=""/>
        <dsp:cNvSpPr/>
      </dsp:nvSpPr>
      <dsp:spPr>
        <a:xfrm>
          <a:off x="0" y="3821526"/>
          <a:ext cx="8074836" cy="101853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8DF815-E4EC-4C8B-89A3-02381B28C402}">
      <dsp:nvSpPr>
        <dsp:cNvPr id="0" name=""/>
        <dsp:cNvSpPr/>
      </dsp:nvSpPr>
      <dsp:spPr>
        <a:xfrm>
          <a:off x="308107" y="4050697"/>
          <a:ext cx="560195" cy="56019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931F5D-5E16-4A87-A9D2-51F34F2AEE47}">
      <dsp:nvSpPr>
        <dsp:cNvPr id="0" name=""/>
        <dsp:cNvSpPr/>
      </dsp:nvSpPr>
      <dsp:spPr>
        <a:xfrm>
          <a:off x="1176411" y="3821526"/>
          <a:ext cx="6898424" cy="10185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795" tIns="107795" rIns="107795" bIns="107795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9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dos debemos asegurarnos de que nuestra conducta refleje los valores de RPM, y debemos tomar medidas si vemos alguna conducta indebida.</a:t>
          </a:r>
          <a:endParaRPr lang="en-US" kern="1200"/>
        </a:p>
      </dsp:txBody>
      <dsp:txXfrm>
        <a:off x="1176411" y="3821526"/>
        <a:ext cx="6898424" cy="1018537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F8FA57-199B-4FDE-9C3F-99E925313025}">
      <dsp:nvSpPr>
        <dsp:cNvPr id="0" name=""/>
        <dsp:cNvSpPr/>
      </dsp:nvSpPr>
      <dsp:spPr>
        <a:xfrm>
          <a:off x="129323" y="1740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Su comportamiento hace que las personas se sientan incómodas o crea conflictos innecesarios?</a:t>
          </a:r>
          <a:endParaRPr lang="en-US" kern="1200"/>
        </a:p>
      </dsp:txBody>
      <dsp:txXfrm>
        <a:off x="129323" y="1740"/>
        <a:ext cx="3721994" cy="2233196"/>
      </dsp:txXfrm>
    </dsp:sp>
    <dsp:sp modelId="{8E972E1B-CF68-4A49-915B-097B6B17B149}">
      <dsp:nvSpPr>
        <dsp:cNvPr id="0" name=""/>
        <dsp:cNvSpPr/>
      </dsp:nvSpPr>
      <dsp:spPr>
        <a:xfrm>
          <a:off x="4223517" y="1740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Se sentiría avergonzado si sus amigos, familiares o líderes de la comunidad se enteraran de su comportamiento?</a:t>
          </a:r>
          <a:endParaRPr lang="en-US" kern="1200"/>
        </a:p>
      </dsp:txBody>
      <dsp:txXfrm>
        <a:off x="4223517" y="1740"/>
        <a:ext cx="3721994" cy="2233196"/>
      </dsp:txXfrm>
    </dsp:sp>
    <dsp:sp modelId="{243CC102-BC16-4CF6-99B1-D3653BCF54DD}">
      <dsp:nvSpPr>
        <dsp:cNvPr id="0" name=""/>
        <dsp:cNvSpPr/>
      </dsp:nvSpPr>
      <dsp:spPr>
        <a:xfrm>
          <a:off x="129323" y="2607136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Su comportamiento es relevante o necesario para su trabajo o desempeño?</a:t>
          </a:r>
          <a:endParaRPr lang="en-US" kern="1200"/>
        </a:p>
      </dsp:txBody>
      <dsp:txXfrm>
        <a:off x="129323" y="2607136"/>
        <a:ext cx="3721994" cy="2233196"/>
      </dsp:txXfrm>
    </dsp:sp>
    <dsp:sp modelId="{3345AED3-E8AE-40AD-B56E-281783EF31F5}">
      <dsp:nvSpPr>
        <dsp:cNvPr id="0" name=""/>
        <dsp:cNvSpPr/>
      </dsp:nvSpPr>
      <dsp:spPr>
        <a:xfrm>
          <a:off x="4223517" y="2607136"/>
          <a:ext cx="3721994" cy="22331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2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i responde sí a cualquiera de estas preguntas, piense si lo que está haciendo o diciendo es apropiado.</a:t>
          </a:r>
          <a:endParaRPr lang="en-US" kern="1200"/>
        </a:p>
      </dsp:txBody>
      <dsp:txXfrm>
        <a:off x="4223517" y="2607136"/>
        <a:ext cx="3721994" cy="223319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F51E0D-D045-4E2B-AB0C-4F2EC15C2742}">
      <dsp:nvSpPr>
        <dsp:cNvPr id="0" name=""/>
        <dsp:cNvSpPr/>
      </dsp:nvSpPr>
      <dsp:spPr>
        <a:xfrm>
          <a:off x="0" y="600"/>
          <a:ext cx="1524000" cy="567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tacto visual</a:t>
          </a:r>
        </a:p>
      </dsp:txBody>
      <dsp:txXfrm>
        <a:off x="0" y="600"/>
        <a:ext cx="1524000" cy="567896"/>
      </dsp:txXfrm>
    </dsp:sp>
    <dsp:sp modelId="{FC80247D-E118-4105-90BF-F29AB52D411B}">
      <dsp:nvSpPr>
        <dsp:cNvPr id="0" name=""/>
        <dsp:cNvSpPr/>
      </dsp:nvSpPr>
      <dsp:spPr>
        <a:xfrm>
          <a:off x="1523999" y="600"/>
          <a:ext cx="304800" cy="567896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929079-7C2E-4F45-A6B9-1B7792F83AEF}">
      <dsp:nvSpPr>
        <dsp:cNvPr id="0" name=""/>
        <dsp:cNvSpPr/>
      </dsp:nvSpPr>
      <dsp:spPr>
        <a:xfrm>
          <a:off x="1950719" y="600"/>
          <a:ext cx="4145280" cy="5678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La persona está haciendo contacto visual? ¿O lo están evitando?</a:t>
          </a:r>
        </a:p>
      </dsp:txBody>
      <dsp:txXfrm>
        <a:off x="1950719" y="600"/>
        <a:ext cx="4145280" cy="567896"/>
      </dsp:txXfrm>
    </dsp:sp>
    <dsp:sp modelId="{33D9AD84-C2DD-43AA-B8C0-6E15771BE78B}">
      <dsp:nvSpPr>
        <dsp:cNvPr id="0" name=""/>
        <dsp:cNvSpPr/>
      </dsp:nvSpPr>
      <dsp:spPr>
        <a:xfrm>
          <a:off x="0" y="683313"/>
          <a:ext cx="1524000" cy="567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Expresiones faciales</a:t>
          </a:r>
        </a:p>
      </dsp:txBody>
      <dsp:txXfrm>
        <a:off x="0" y="683313"/>
        <a:ext cx="1524000" cy="567896"/>
      </dsp:txXfrm>
    </dsp:sp>
    <dsp:sp modelId="{9117B35D-C06B-428F-8A45-50C11E8FFA23}">
      <dsp:nvSpPr>
        <dsp:cNvPr id="0" name=""/>
        <dsp:cNvSpPr/>
      </dsp:nvSpPr>
      <dsp:spPr>
        <a:xfrm>
          <a:off x="1524000" y="585705"/>
          <a:ext cx="304800" cy="76311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E5CFAF-7A5E-4128-8997-A5651A906319}">
      <dsp:nvSpPr>
        <dsp:cNvPr id="0" name=""/>
        <dsp:cNvSpPr/>
      </dsp:nvSpPr>
      <dsp:spPr>
        <a:xfrm>
          <a:off x="1950720" y="585705"/>
          <a:ext cx="4145280" cy="7631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El rostro de la persona expresa calidez e interés? ¿O está en blanco o muestra molestias?</a:t>
          </a:r>
        </a:p>
      </dsp:txBody>
      <dsp:txXfrm>
        <a:off x="1950720" y="585705"/>
        <a:ext cx="4145280" cy="763110"/>
      </dsp:txXfrm>
    </dsp:sp>
    <dsp:sp modelId="{5400C3F5-CC03-4C92-9C64-BD6ED3005EC2}">
      <dsp:nvSpPr>
        <dsp:cNvPr id="0" name=""/>
        <dsp:cNvSpPr/>
      </dsp:nvSpPr>
      <dsp:spPr>
        <a:xfrm>
          <a:off x="0" y="1474724"/>
          <a:ext cx="1524000" cy="3312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no de voz</a:t>
          </a:r>
        </a:p>
      </dsp:txBody>
      <dsp:txXfrm>
        <a:off x="0" y="1474724"/>
        <a:ext cx="1524000" cy="331272"/>
      </dsp:txXfrm>
    </dsp:sp>
    <dsp:sp modelId="{C3AF3EC1-996A-46C1-B710-476892751235}">
      <dsp:nvSpPr>
        <dsp:cNvPr id="0" name=""/>
        <dsp:cNvSpPr/>
      </dsp:nvSpPr>
      <dsp:spPr>
        <a:xfrm>
          <a:off x="1524000" y="1366025"/>
          <a:ext cx="304800" cy="54867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87B468-0784-4F3F-9515-BBB3492CC8A0}">
      <dsp:nvSpPr>
        <dsp:cNvPr id="0" name=""/>
        <dsp:cNvSpPr/>
      </dsp:nvSpPr>
      <dsp:spPr>
        <a:xfrm>
          <a:off x="1950720" y="1366025"/>
          <a:ext cx="4145280" cy="5486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La voz de la persona proyecta comodidad o interés? ¿O está tenso?</a:t>
          </a:r>
        </a:p>
      </dsp:txBody>
      <dsp:txXfrm>
        <a:off x="1950720" y="1366025"/>
        <a:ext cx="4145280" cy="548670"/>
      </dsp:txXfrm>
    </dsp:sp>
    <dsp:sp modelId="{85BD6EBC-B7BD-4283-9195-03758FD188DF}">
      <dsp:nvSpPr>
        <dsp:cNvPr id="0" name=""/>
        <dsp:cNvSpPr/>
      </dsp:nvSpPr>
      <dsp:spPr>
        <a:xfrm>
          <a:off x="0" y="1931905"/>
          <a:ext cx="1524000" cy="567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ostura y gestos</a:t>
          </a:r>
        </a:p>
      </dsp:txBody>
      <dsp:txXfrm>
        <a:off x="0" y="1931905"/>
        <a:ext cx="1524000" cy="567896"/>
      </dsp:txXfrm>
    </dsp:sp>
    <dsp:sp modelId="{E0FC9C9B-F53E-4A4C-8BA2-1529EE697C2B}">
      <dsp:nvSpPr>
        <dsp:cNvPr id="0" name=""/>
        <dsp:cNvSpPr/>
      </dsp:nvSpPr>
      <dsp:spPr>
        <a:xfrm>
          <a:off x="1524000" y="1931905"/>
          <a:ext cx="304800" cy="567896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CD8488-674C-4C0C-9655-2C89CD3ACFBA}">
      <dsp:nvSpPr>
        <dsp:cNvPr id="0" name=""/>
        <dsp:cNvSpPr/>
      </dsp:nvSpPr>
      <dsp:spPr>
        <a:xfrm>
          <a:off x="1950720" y="1931905"/>
          <a:ext cx="4145280" cy="5678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El cuerpo de la persona está relajado? ¿O es rígido e inmóvil?</a:t>
          </a:r>
        </a:p>
      </dsp:txBody>
      <dsp:txXfrm>
        <a:off x="1950720" y="1931905"/>
        <a:ext cx="4145280" cy="567896"/>
      </dsp:txXfrm>
    </dsp:sp>
    <dsp:sp modelId="{A3CD7AA6-38F4-4A44-AF0C-AA53CC2A4238}">
      <dsp:nvSpPr>
        <dsp:cNvPr id="0" name=""/>
        <dsp:cNvSpPr/>
      </dsp:nvSpPr>
      <dsp:spPr>
        <a:xfrm>
          <a:off x="0" y="2614618"/>
          <a:ext cx="1524000" cy="567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iempo y lugar</a:t>
          </a:r>
        </a:p>
      </dsp:txBody>
      <dsp:txXfrm>
        <a:off x="0" y="2614618"/>
        <a:ext cx="1524000" cy="567896"/>
      </dsp:txXfrm>
    </dsp:sp>
    <dsp:sp modelId="{A0BBA243-A395-4F9E-9DD5-840A3D69F33B}">
      <dsp:nvSpPr>
        <dsp:cNvPr id="0" name=""/>
        <dsp:cNvSpPr/>
      </dsp:nvSpPr>
      <dsp:spPr>
        <a:xfrm>
          <a:off x="1524000" y="2517011"/>
          <a:ext cx="304800" cy="763110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AAEBA6-B695-4691-8B00-49D1E4CA4B7B}">
      <dsp:nvSpPr>
        <dsp:cNvPr id="0" name=""/>
        <dsp:cNvSpPr/>
      </dsp:nvSpPr>
      <dsp:spPr>
        <a:xfrm>
          <a:off x="1950720" y="2517011"/>
          <a:ext cx="4145280" cy="76311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Existe un flujo fácil de información de ida y vuelta? ¿O es en gran medida una conversación unidireccional?</a:t>
          </a:r>
        </a:p>
      </dsp:txBody>
      <dsp:txXfrm>
        <a:off x="1950720" y="2517011"/>
        <a:ext cx="4145280" cy="763110"/>
      </dsp:txXfrm>
    </dsp:sp>
    <dsp:sp modelId="{1165B149-41F8-4D08-BA1A-5857706E9CDE}">
      <dsp:nvSpPr>
        <dsp:cNvPr id="0" name=""/>
        <dsp:cNvSpPr/>
      </dsp:nvSpPr>
      <dsp:spPr>
        <a:xfrm>
          <a:off x="0" y="3514728"/>
          <a:ext cx="1524000" cy="3312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marL="0" lvl="0" indent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8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mpromiso</a:t>
          </a:r>
        </a:p>
      </dsp:txBody>
      <dsp:txXfrm>
        <a:off x="0" y="3514728"/>
        <a:ext cx="1524000" cy="331272"/>
      </dsp:txXfrm>
    </dsp:sp>
    <dsp:sp modelId="{0A6E157B-C627-4B14-8B26-59B96448430A}">
      <dsp:nvSpPr>
        <dsp:cNvPr id="0" name=""/>
        <dsp:cNvSpPr/>
      </dsp:nvSpPr>
      <dsp:spPr>
        <a:xfrm>
          <a:off x="1524000" y="3297330"/>
          <a:ext cx="304800" cy="766068"/>
        </a:xfrm>
        <a:prstGeom prst="leftBrace">
          <a:avLst>
            <a:gd name="adj1" fmla="val 35000"/>
            <a:gd name="adj2" fmla="val 5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46999F-8B22-4EFB-AAE0-C9D0AFC0A833}">
      <dsp:nvSpPr>
        <dsp:cNvPr id="0" name=""/>
        <dsp:cNvSpPr/>
      </dsp:nvSpPr>
      <dsp:spPr>
        <a:xfrm>
          <a:off x="1950720" y="3297330"/>
          <a:ext cx="4145280" cy="7660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¿Parece la persona estar disfrutando de la conversación? ¿O están buscando una salida a la interacción?</a:t>
          </a:r>
        </a:p>
      </dsp:txBody>
      <dsp:txXfrm>
        <a:off x="1950720" y="3297330"/>
        <a:ext cx="4145280" cy="76606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3D0F38-1697-4DDF-87B5-31AB4FDDCA6E}">
      <dsp:nvSpPr>
        <dsp:cNvPr id="0" name=""/>
        <dsp:cNvSpPr/>
      </dsp:nvSpPr>
      <dsp:spPr>
        <a:xfrm>
          <a:off x="349150" y="201344"/>
          <a:ext cx="1089421" cy="1089421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2CB9A9-E8F4-48A6-863C-3857BF4A1898}">
      <dsp:nvSpPr>
        <dsp:cNvPr id="0" name=""/>
        <dsp:cNvSpPr/>
      </dsp:nvSpPr>
      <dsp:spPr>
        <a:xfrm>
          <a:off x="581322" y="433516"/>
          <a:ext cx="625078" cy="625078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A18965-2D4D-4724-835A-2A765ACE07BF}">
      <dsp:nvSpPr>
        <dsp:cNvPr id="0" name=""/>
        <dsp:cNvSpPr/>
      </dsp:nvSpPr>
      <dsp:spPr>
        <a:xfrm>
          <a:off x="892" y="1630094"/>
          <a:ext cx="1785937" cy="71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s-LA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terrumpir, confrontar, apoyar, ¡pero solo iF apropiado!</a:t>
          </a:r>
          <a:endParaRPr lang="en-US" kern="1200"/>
        </a:p>
      </dsp:txBody>
      <dsp:txXfrm>
        <a:off x="892" y="1630094"/>
        <a:ext cx="1785937" cy="714375"/>
      </dsp:txXfrm>
    </dsp:sp>
    <dsp:sp modelId="{71CADC7A-C1B0-44C3-93BB-21CE4C51B4F2}">
      <dsp:nvSpPr>
        <dsp:cNvPr id="0" name=""/>
        <dsp:cNvSpPr/>
      </dsp:nvSpPr>
      <dsp:spPr>
        <a:xfrm>
          <a:off x="2447627" y="201344"/>
          <a:ext cx="1089421" cy="1089421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7A4B8A-9FB1-49BB-AD5F-E16F4D6B1202}">
      <dsp:nvSpPr>
        <dsp:cNvPr id="0" name=""/>
        <dsp:cNvSpPr/>
      </dsp:nvSpPr>
      <dsp:spPr>
        <a:xfrm>
          <a:off x="2679799" y="433516"/>
          <a:ext cx="625078" cy="625078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F8B6D1-5618-4F35-9FB1-447D4C8D3EB4}">
      <dsp:nvSpPr>
        <dsp:cNvPr id="0" name=""/>
        <dsp:cNvSpPr/>
      </dsp:nvSpPr>
      <dsp:spPr>
        <a:xfrm>
          <a:off x="2099369" y="1630094"/>
          <a:ext cx="1785937" cy="71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s-LA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Queremos saber si cree que el comportamiento de alguien es inapropiado o ilegal. </a:t>
          </a:r>
          <a:endParaRPr lang="en-US" kern="1200"/>
        </a:p>
      </dsp:txBody>
      <dsp:txXfrm>
        <a:off x="2099369" y="1630094"/>
        <a:ext cx="1785937" cy="714375"/>
      </dsp:txXfrm>
    </dsp:sp>
    <dsp:sp modelId="{1FE7E204-545F-440C-8C97-4A51872D9726}">
      <dsp:nvSpPr>
        <dsp:cNvPr id="0" name=""/>
        <dsp:cNvSpPr/>
      </dsp:nvSpPr>
      <dsp:spPr>
        <a:xfrm>
          <a:off x="349150" y="2790954"/>
          <a:ext cx="1089421" cy="1089421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FF4209-844A-4978-977D-D9B2596F75E9}">
      <dsp:nvSpPr>
        <dsp:cNvPr id="0" name=""/>
        <dsp:cNvSpPr/>
      </dsp:nvSpPr>
      <dsp:spPr>
        <a:xfrm>
          <a:off x="581322" y="3023126"/>
          <a:ext cx="625078" cy="625078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BC5A38-EAF4-4B1E-9660-0ECB3613D90C}">
      <dsp:nvSpPr>
        <dsp:cNvPr id="0" name=""/>
        <dsp:cNvSpPr/>
      </dsp:nvSpPr>
      <dsp:spPr>
        <a:xfrm>
          <a:off x="892" y="4219704"/>
          <a:ext cx="1785937" cy="71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s-LA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odas las quejas se tomarán en serio, se investigarán y se tomarán medidas si corresponde. </a:t>
          </a:r>
          <a:endParaRPr lang="en-US" kern="1200"/>
        </a:p>
      </dsp:txBody>
      <dsp:txXfrm>
        <a:off x="892" y="4219704"/>
        <a:ext cx="1785937" cy="714375"/>
      </dsp:txXfrm>
    </dsp:sp>
    <dsp:sp modelId="{10143779-9C38-42BF-84D1-1850484485B4}">
      <dsp:nvSpPr>
        <dsp:cNvPr id="0" name=""/>
        <dsp:cNvSpPr/>
      </dsp:nvSpPr>
      <dsp:spPr>
        <a:xfrm>
          <a:off x="2447627" y="2790954"/>
          <a:ext cx="1089421" cy="1089421"/>
        </a:xfrm>
        <a:prstGeom prst="round2DiagRect">
          <a:avLst>
            <a:gd name="adj1" fmla="val 29727"/>
            <a:gd name="adj2" fmla="val 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7D5008-931D-4678-B3D6-809AC5E131FA}">
      <dsp:nvSpPr>
        <dsp:cNvPr id="0" name=""/>
        <dsp:cNvSpPr/>
      </dsp:nvSpPr>
      <dsp:spPr>
        <a:xfrm>
          <a:off x="2679799" y="3023126"/>
          <a:ext cx="625078" cy="625078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B0CDB9-D0AE-470D-ABFC-DED3FE7A9B30}">
      <dsp:nvSpPr>
        <dsp:cNvPr id="0" name=""/>
        <dsp:cNvSpPr/>
      </dsp:nvSpPr>
      <dsp:spPr>
        <a:xfrm>
          <a:off x="2099369" y="4219704"/>
          <a:ext cx="1785937" cy="7143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9339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s-LA" sz="1110" b="0" i="0" strike="noStrike" kern="1200" cap="all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muníquese con su gerente, hora local, el equipo de cumplimiento de rpm o la línea directa</a:t>
          </a:r>
          <a:endParaRPr lang="en-US" kern="1200"/>
        </a:p>
      </dsp:txBody>
      <dsp:txXfrm>
        <a:off x="2099369" y="4219704"/>
        <a:ext cx="1785937" cy="714375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A512D9-B40D-47F9-A846-C726F51B1EC6}">
      <dsp:nvSpPr>
        <dsp:cNvPr id="0" name=""/>
        <dsp:cNvSpPr/>
      </dsp:nvSpPr>
      <dsp:spPr>
        <a:xfrm>
          <a:off x="0" y="2522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508474-D63E-4A16-9167-594C791466C4}">
      <dsp:nvSpPr>
        <dsp:cNvPr id="0" name=""/>
        <dsp:cNvSpPr/>
      </dsp:nvSpPr>
      <dsp:spPr>
        <a:xfrm>
          <a:off x="128269" y="97929"/>
          <a:ext cx="233445" cy="23321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AD54F1-4A2A-422E-A86B-590182CAB8AA}">
      <dsp:nvSpPr>
        <dsp:cNvPr id="0" name=""/>
        <dsp:cNvSpPr/>
      </dsp:nvSpPr>
      <dsp:spPr>
        <a:xfrm>
          <a:off x="489984" y="2522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Despido</a:t>
          </a:r>
          <a:endParaRPr lang="en-US" kern="1200"/>
        </a:p>
      </dsp:txBody>
      <dsp:txXfrm>
        <a:off x="489984" y="2522"/>
        <a:ext cx="7533534" cy="516788"/>
      </dsp:txXfrm>
    </dsp:sp>
    <dsp:sp modelId="{02EE004D-26FC-47D1-8269-69D20901CA23}">
      <dsp:nvSpPr>
        <dsp:cNvPr id="0" name=""/>
        <dsp:cNvSpPr/>
      </dsp:nvSpPr>
      <dsp:spPr>
        <a:xfrm>
          <a:off x="0" y="648508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412361-0DD8-455E-ABDC-E515BF65EB9D}">
      <dsp:nvSpPr>
        <dsp:cNvPr id="0" name=""/>
        <dsp:cNvSpPr/>
      </dsp:nvSpPr>
      <dsp:spPr>
        <a:xfrm>
          <a:off x="128269" y="743915"/>
          <a:ext cx="233445" cy="23321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7B8EB0-C577-4054-84C1-818EA38BF5B9}">
      <dsp:nvSpPr>
        <dsp:cNvPr id="0" name=""/>
        <dsp:cNvSpPr/>
      </dsp:nvSpPr>
      <dsp:spPr>
        <a:xfrm>
          <a:off x="489984" y="648508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Descenso de categoría</a:t>
          </a:r>
          <a:endParaRPr lang="en-US" kern="1200"/>
        </a:p>
      </dsp:txBody>
      <dsp:txXfrm>
        <a:off x="489984" y="648508"/>
        <a:ext cx="7533534" cy="516788"/>
      </dsp:txXfrm>
    </dsp:sp>
    <dsp:sp modelId="{3951A61D-F069-4616-989D-20A828000FE1}">
      <dsp:nvSpPr>
        <dsp:cNvPr id="0" name=""/>
        <dsp:cNvSpPr/>
      </dsp:nvSpPr>
      <dsp:spPr>
        <a:xfrm>
          <a:off x="0" y="1294493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C44930-8854-438D-90B1-22C51B82B008}">
      <dsp:nvSpPr>
        <dsp:cNvPr id="0" name=""/>
        <dsp:cNvSpPr/>
      </dsp:nvSpPr>
      <dsp:spPr>
        <a:xfrm>
          <a:off x="128269" y="1389900"/>
          <a:ext cx="233445" cy="23321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5091B8-29C0-4ABE-8DEC-334A61052E0C}">
      <dsp:nvSpPr>
        <dsp:cNvPr id="0" name=""/>
        <dsp:cNvSpPr/>
      </dsp:nvSpPr>
      <dsp:spPr>
        <a:xfrm>
          <a:off x="489984" y="1294493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nsferencia</a:t>
          </a:r>
          <a:endParaRPr lang="en-US" kern="1200"/>
        </a:p>
      </dsp:txBody>
      <dsp:txXfrm>
        <a:off x="489984" y="1294493"/>
        <a:ext cx="7533534" cy="516788"/>
      </dsp:txXfrm>
    </dsp:sp>
    <dsp:sp modelId="{2B9FBFC2-2DA2-4537-8E9D-0102188BB8DA}">
      <dsp:nvSpPr>
        <dsp:cNvPr id="0" name=""/>
        <dsp:cNvSpPr/>
      </dsp:nvSpPr>
      <dsp:spPr>
        <a:xfrm>
          <a:off x="0" y="1940479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8824A6-FCA5-4A1B-9C93-02EBF6CE40C2}">
      <dsp:nvSpPr>
        <dsp:cNvPr id="0" name=""/>
        <dsp:cNvSpPr/>
      </dsp:nvSpPr>
      <dsp:spPr>
        <a:xfrm>
          <a:off x="128269" y="2035886"/>
          <a:ext cx="233445" cy="233217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B89971-F98F-4B5E-A3E6-D8B427874E72}">
      <dsp:nvSpPr>
        <dsp:cNvPr id="0" name=""/>
        <dsp:cNvSpPr/>
      </dsp:nvSpPr>
      <dsp:spPr>
        <a:xfrm>
          <a:off x="489984" y="1940479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Asignaciones o cronograma de trabajo menos favorables</a:t>
          </a:r>
          <a:endParaRPr lang="en-US" kern="1200"/>
        </a:p>
      </dsp:txBody>
      <dsp:txXfrm>
        <a:off x="489984" y="1940479"/>
        <a:ext cx="7533534" cy="516788"/>
      </dsp:txXfrm>
    </dsp:sp>
    <dsp:sp modelId="{5A0D2530-66A5-456F-BF2D-18FEAD527C88}">
      <dsp:nvSpPr>
        <dsp:cNvPr id="0" name=""/>
        <dsp:cNvSpPr/>
      </dsp:nvSpPr>
      <dsp:spPr>
        <a:xfrm>
          <a:off x="0" y="2586464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14D602-97C4-4F4E-85C6-8EC0B97D38A5}">
      <dsp:nvSpPr>
        <dsp:cNvPr id="0" name=""/>
        <dsp:cNvSpPr/>
      </dsp:nvSpPr>
      <dsp:spPr>
        <a:xfrm>
          <a:off x="128269" y="2681871"/>
          <a:ext cx="233445" cy="233217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1E7E8D9-EBEA-4B3C-B1F3-7D20DA711A7B}">
      <dsp:nvSpPr>
        <dsp:cNvPr id="0" name=""/>
        <dsp:cNvSpPr/>
      </dsp:nvSpPr>
      <dsp:spPr>
        <a:xfrm>
          <a:off x="489984" y="2586464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Filtración de archivos de personal para menospreciar o desacreditar a una víctima o testigo de discriminación</a:t>
          </a:r>
          <a:endParaRPr lang="en-US" kern="1200"/>
        </a:p>
      </dsp:txBody>
      <dsp:txXfrm>
        <a:off x="489984" y="2586464"/>
        <a:ext cx="7533534" cy="516788"/>
      </dsp:txXfrm>
    </dsp:sp>
    <dsp:sp modelId="{82650058-36C7-4EF2-A510-6B2A3BC56CBA}">
      <dsp:nvSpPr>
        <dsp:cNvPr id="0" name=""/>
        <dsp:cNvSpPr/>
      </dsp:nvSpPr>
      <dsp:spPr>
        <a:xfrm>
          <a:off x="0" y="3232450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2EC3DD-4747-4D08-8080-FEFD01566235}">
      <dsp:nvSpPr>
        <dsp:cNvPr id="0" name=""/>
        <dsp:cNvSpPr/>
      </dsp:nvSpPr>
      <dsp:spPr>
        <a:xfrm>
          <a:off x="128269" y="3327857"/>
          <a:ext cx="233445" cy="233217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5AEC99-75BD-4251-A255-724AD0F0A785}">
      <dsp:nvSpPr>
        <dsp:cNvPr id="0" name=""/>
        <dsp:cNvSpPr/>
      </dsp:nvSpPr>
      <dsp:spPr>
        <a:xfrm>
          <a:off x="489984" y="3232450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er rechazado u ostracido por sus compañeros de trabajo</a:t>
          </a:r>
          <a:endParaRPr lang="en-US" kern="1200"/>
        </a:p>
      </dsp:txBody>
      <dsp:txXfrm>
        <a:off x="489984" y="3232450"/>
        <a:ext cx="7533534" cy="516788"/>
      </dsp:txXfrm>
    </dsp:sp>
    <dsp:sp modelId="{BE66F222-4B7E-4DCF-98CD-4A27921714C6}">
      <dsp:nvSpPr>
        <dsp:cNvPr id="0" name=""/>
        <dsp:cNvSpPr/>
      </dsp:nvSpPr>
      <dsp:spPr>
        <a:xfrm>
          <a:off x="0" y="3878435"/>
          <a:ext cx="8074836" cy="42403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DFA904-3FD3-466E-BD6D-472D480E10CF}">
      <dsp:nvSpPr>
        <dsp:cNvPr id="0" name=""/>
        <dsp:cNvSpPr/>
      </dsp:nvSpPr>
      <dsp:spPr>
        <a:xfrm>
          <a:off x="128269" y="3973842"/>
          <a:ext cx="233445" cy="233217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759015-1B81-45A3-B24B-BC9FC83003A9}">
      <dsp:nvSpPr>
        <dsp:cNvPr id="0" name=""/>
        <dsp:cNvSpPr/>
      </dsp:nvSpPr>
      <dsp:spPr>
        <a:xfrm>
          <a:off x="489984" y="3878435"/>
          <a:ext cx="7533534" cy="516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4693" tIns="54693" rIns="54693" bIns="54693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Ser saboteado por compañeros de trabajo</a:t>
          </a:r>
          <a:endParaRPr lang="en-US" kern="1200"/>
        </a:p>
      </dsp:txBody>
      <dsp:txXfrm>
        <a:off x="489984" y="3878435"/>
        <a:ext cx="7533534" cy="5167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7136BE-66B6-43CA-ABD3-5EC058011C77}">
      <dsp:nvSpPr>
        <dsp:cNvPr id="0" name=""/>
        <dsp:cNvSpPr/>
      </dsp:nvSpPr>
      <dsp:spPr>
        <a:xfrm>
          <a:off x="2523" y="7467"/>
          <a:ext cx="2460301" cy="806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21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coso en el lugar de trabajo</a:t>
          </a:r>
          <a:endParaRPr lang="en-GB" kern="1200"/>
        </a:p>
      </dsp:txBody>
      <dsp:txXfrm>
        <a:off x="2523" y="7467"/>
        <a:ext cx="2460301" cy="806400"/>
      </dsp:txXfrm>
    </dsp:sp>
    <dsp:sp modelId="{5A01AD50-A4BE-433F-882C-7262AEE7DECE}">
      <dsp:nvSpPr>
        <dsp:cNvPr id="0" name=""/>
        <dsp:cNvSpPr/>
      </dsp:nvSpPr>
      <dsp:spPr>
        <a:xfrm>
          <a:off x="2523" y="813867"/>
          <a:ext cx="2460301" cy="4020738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s-LA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ducta no deseada u ofensiva que se basa en </a:t>
          </a:r>
          <a:r>
            <a:rPr lang="es-LA" sz="2100" b="0" i="1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ualquier fundamento </a:t>
          </a:r>
          <a:r>
            <a:rPr lang="es-LA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protegido.</a:t>
          </a:r>
        </a:p>
      </dsp:txBody>
      <dsp:txXfrm>
        <a:off x="2523" y="813867"/>
        <a:ext cx="2460301" cy="4020738"/>
      </dsp:txXfrm>
    </dsp:sp>
    <dsp:sp modelId="{88EAAD68-E779-4ABE-A5DA-0983BBEBC27F}">
      <dsp:nvSpPr>
        <dsp:cNvPr id="0" name=""/>
        <dsp:cNvSpPr/>
      </dsp:nvSpPr>
      <dsp:spPr>
        <a:xfrm>
          <a:off x="2807267" y="7467"/>
          <a:ext cx="2460301" cy="806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21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ierras protegidas</a:t>
          </a:r>
          <a:endParaRPr lang="en-GB" kern="1200"/>
        </a:p>
      </dsp:txBody>
      <dsp:txXfrm>
        <a:off x="2807267" y="7467"/>
        <a:ext cx="2460301" cy="806400"/>
      </dsp:txXfrm>
    </dsp:sp>
    <dsp:sp modelId="{E09FF709-B9A1-467B-BBF8-2127A63B2EF3}">
      <dsp:nvSpPr>
        <dsp:cNvPr id="0" name=""/>
        <dsp:cNvSpPr/>
      </dsp:nvSpPr>
      <dsp:spPr>
        <a:xfrm>
          <a:off x="2807267" y="813867"/>
          <a:ext cx="2460301" cy="4020738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s-LA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Rasgos personales que no tienen permitido afectar el empleo o las decisiones relacionadas con el empleo. </a:t>
          </a:r>
        </a:p>
        <a:p>
          <a:pPr marL="228600" lvl="1" indent="-228600" algn="l" defTabSz="93345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Las personas pueden tener más de un terreno protegido</a:t>
          </a:r>
        </a:p>
      </dsp:txBody>
      <dsp:txXfrm>
        <a:off x="2807267" y="813867"/>
        <a:ext cx="2460301" cy="4020738"/>
      </dsp:txXfrm>
    </dsp:sp>
    <dsp:sp modelId="{F96EBAB5-2385-44A0-9DAE-378482389753}">
      <dsp:nvSpPr>
        <dsp:cNvPr id="0" name=""/>
        <dsp:cNvSpPr/>
      </dsp:nvSpPr>
      <dsp:spPr>
        <a:xfrm>
          <a:off x="5612011" y="7467"/>
          <a:ext cx="2460301" cy="806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9352" tIns="85344" rIns="149352" bIns="85344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21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portamiento interseccional</a:t>
          </a:r>
          <a:endParaRPr lang="en-GB" kern="1200"/>
        </a:p>
      </dsp:txBody>
      <dsp:txXfrm>
        <a:off x="5612011" y="7467"/>
        <a:ext cx="2460301" cy="806400"/>
      </dsp:txXfrm>
    </dsp:sp>
    <dsp:sp modelId="{205221B7-809E-408A-8761-924C5606E944}">
      <dsp:nvSpPr>
        <dsp:cNvPr id="0" name=""/>
        <dsp:cNvSpPr/>
      </dsp:nvSpPr>
      <dsp:spPr>
        <a:xfrm>
          <a:off x="5612011" y="813867"/>
          <a:ext cx="2460301" cy="4020738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2014" tIns="112014" rIns="149352" bIns="168021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s-LA" sz="21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ducta inadecuada dirigida a más de un terreno protegido.</a:t>
          </a:r>
        </a:p>
        <a:p>
          <a:pPr marL="285750" lvl="1" indent="-285750" algn="l" defTabSz="1600200">
            <a:lnSpc>
              <a:spcPct val="100000"/>
            </a:lnSpc>
            <a:spcBef>
              <a:spcPct val="0"/>
            </a:spcBef>
            <a:spcAft>
              <a:spcPct val="15000"/>
            </a:spcAft>
            <a:buNone/>
          </a:pPr>
          <a:endParaRPr lang="en-GB" sz="3600" kern="1200"/>
        </a:p>
      </dsp:txBody>
      <dsp:txXfrm>
        <a:off x="5612011" y="813867"/>
        <a:ext cx="2460301" cy="402073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56F062-E831-4C9D-8295-EBD859E85986}">
      <dsp:nvSpPr>
        <dsp:cNvPr id="0" name=""/>
        <dsp:cNvSpPr/>
      </dsp:nvSpPr>
      <dsp:spPr>
        <a:xfrm>
          <a:off x="2390" y="104515"/>
          <a:ext cx="1896268" cy="1137760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dad (40 años o más)</a:t>
          </a:r>
          <a:endParaRPr lang="en-US" kern="1200"/>
        </a:p>
      </dsp:txBody>
      <dsp:txXfrm>
        <a:off x="2390" y="104515"/>
        <a:ext cx="1896268" cy="1137760"/>
      </dsp:txXfrm>
    </dsp:sp>
    <dsp:sp modelId="{314BF5E9-6D32-4139-B1EF-52F90BD3589D}">
      <dsp:nvSpPr>
        <dsp:cNvPr id="0" name=""/>
        <dsp:cNvSpPr/>
      </dsp:nvSpPr>
      <dsp:spPr>
        <a:xfrm>
          <a:off x="2088285" y="104515"/>
          <a:ext cx="1896268" cy="1137760"/>
        </a:xfrm>
        <a:prstGeom prst="rect">
          <a:avLst/>
        </a:prstGeom>
        <a:solidFill>
          <a:schemeClr val="accent1">
            <a:shade val="80000"/>
            <a:hueOff val="24660"/>
            <a:satOff val="470"/>
            <a:lumOff val="207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aza/color</a:t>
          </a:r>
          <a:endParaRPr lang="en-US" kern="1200"/>
        </a:p>
      </dsp:txBody>
      <dsp:txXfrm>
        <a:off x="2088285" y="104515"/>
        <a:ext cx="1896268" cy="1137760"/>
      </dsp:txXfrm>
    </dsp:sp>
    <dsp:sp modelId="{65B48DC4-277D-4510-87DB-C69F1B7D6DD3}">
      <dsp:nvSpPr>
        <dsp:cNvPr id="0" name=""/>
        <dsp:cNvSpPr/>
      </dsp:nvSpPr>
      <dsp:spPr>
        <a:xfrm>
          <a:off x="4174180" y="104515"/>
          <a:ext cx="1896268" cy="1137760"/>
        </a:xfrm>
        <a:prstGeom prst="rect">
          <a:avLst/>
        </a:prstGeom>
        <a:solidFill>
          <a:schemeClr val="accent1">
            <a:shade val="80000"/>
            <a:hueOff val="49321"/>
            <a:satOff val="941"/>
            <a:lumOff val="4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gen nacional/ciudadanía</a:t>
          </a:r>
          <a:endParaRPr lang="en-US" kern="1200"/>
        </a:p>
      </dsp:txBody>
      <dsp:txXfrm>
        <a:off x="4174180" y="104515"/>
        <a:ext cx="1896268" cy="1137760"/>
      </dsp:txXfrm>
    </dsp:sp>
    <dsp:sp modelId="{C28451D7-32EE-4871-A93E-B1ABC49EF3AC}">
      <dsp:nvSpPr>
        <dsp:cNvPr id="0" name=""/>
        <dsp:cNvSpPr/>
      </dsp:nvSpPr>
      <dsp:spPr>
        <a:xfrm>
          <a:off x="6260075" y="104515"/>
          <a:ext cx="1896268" cy="1137760"/>
        </a:xfrm>
        <a:prstGeom prst="rect">
          <a:avLst/>
        </a:prstGeom>
        <a:solidFill>
          <a:schemeClr val="accent1">
            <a:shade val="80000"/>
            <a:hueOff val="73981"/>
            <a:satOff val="1411"/>
            <a:lumOff val="623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nformación genética</a:t>
          </a:r>
          <a:endParaRPr lang="en-US" kern="1200"/>
        </a:p>
      </dsp:txBody>
      <dsp:txXfrm>
        <a:off x="6260075" y="104515"/>
        <a:ext cx="1896268" cy="1137760"/>
      </dsp:txXfrm>
    </dsp:sp>
    <dsp:sp modelId="{B97059E4-569B-439D-ACCE-C703E8EBB9E0}">
      <dsp:nvSpPr>
        <dsp:cNvPr id="0" name=""/>
        <dsp:cNvSpPr/>
      </dsp:nvSpPr>
      <dsp:spPr>
        <a:xfrm>
          <a:off x="2390" y="1431903"/>
          <a:ext cx="1896268" cy="1137760"/>
        </a:xfrm>
        <a:prstGeom prst="rect">
          <a:avLst/>
        </a:prstGeom>
        <a:solidFill>
          <a:schemeClr val="accent1">
            <a:shade val="80000"/>
            <a:hueOff val="98641"/>
            <a:satOff val="1882"/>
            <a:lumOff val="83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ioma</a:t>
          </a:r>
          <a:endParaRPr lang="en-US" kern="1200"/>
        </a:p>
      </dsp:txBody>
      <dsp:txXfrm>
        <a:off x="2390" y="1431903"/>
        <a:ext cx="1896268" cy="1137760"/>
      </dsp:txXfrm>
    </dsp:sp>
    <dsp:sp modelId="{1C95E413-6173-413A-912F-7DA1BB34D98F}">
      <dsp:nvSpPr>
        <dsp:cNvPr id="0" name=""/>
        <dsp:cNvSpPr/>
      </dsp:nvSpPr>
      <dsp:spPr>
        <a:xfrm>
          <a:off x="2088285" y="1431903"/>
          <a:ext cx="1896268" cy="1137760"/>
        </a:xfrm>
        <a:prstGeom prst="rect">
          <a:avLst/>
        </a:prstGeom>
        <a:solidFill>
          <a:schemeClr val="accent1">
            <a:shade val="80000"/>
            <a:hueOff val="123302"/>
            <a:satOff val="2352"/>
            <a:lumOff val="1038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Religión o creencia</a:t>
          </a:r>
          <a:endParaRPr lang="en-US" kern="1200"/>
        </a:p>
      </dsp:txBody>
      <dsp:txXfrm>
        <a:off x="2088285" y="1431903"/>
        <a:ext cx="1896268" cy="1137760"/>
      </dsp:txXfrm>
    </dsp:sp>
    <dsp:sp modelId="{A26D54B5-B4E7-40E8-9B74-824A0E4BCFBB}">
      <dsp:nvSpPr>
        <dsp:cNvPr id="0" name=""/>
        <dsp:cNvSpPr/>
      </dsp:nvSpPr>
      <dsp:spPr>
        <a:xfrm>
          <a:off x="4174180" y="1431903"/>
          <a:ext cx="1896268" cy="1137760"/>
        </a:xfrm>
        <a:prstGeom prst="rect">
          <a:avLst/>
        </a:prstGeom>
        <a:solidFill>
          <a:schemeClr val="accent1">
            <a:shade val="80000"/>
            <a:hueOff val="147962"/>
            <a:satOff val="2823"/>
            <a:lumOff val="124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eas políticas o sindicales</a:t>
          </a:r>
          <a:endParaRPr lang="en-US" kern="1200"/>
        </a:p>
      </dsp:txBody>
      <dsp:txXfrm>
        <a:off x="4174180" y="1431903"/>
        <a:ext cx="1896268" cy="1137760"/>
      </dsp:txXfrm>
    </dsp:sp>
    <dsp:sp modelId="{00672C99-BC32-447E-BE26-36407AA2BDB2}">
      <dsp:nvSpPr>
        <dsp:cNvPr id="0" name=""/>
        <dsp:cNvSpPr/>
      </dsp:nvSpPr>
      <dsp:spPr>
        <a:xfrm>
          <a:off x="6260075" y="1431903"/>
          <a:ext cx="1896268" cy="1137760"/>
        </a:xfrm>
        <a:prstGeom prst="rect">
          <a:avLst/>
        </a:prstGeom>
        <a:solidFill>
          <a:schemeClr val="accent1">
            <a:shade val="80000"/>
            <a:hueOff val="172622"/>
            <a:satOff val="3293"/>
            <a:lumOff val="1454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stado de veterano</a:t>
          </a:r>
          <a:endParaRPr lang="en-US" kern="1200"/>
        </a:p>
      </dsp:txBody>
      <dsp:txXfrm>
        <a:off x="6260075" y="1431903"/>
        <a:ext cx="1896268" cy="1137760"/>
      </dsp:txXfrm>
    </dsp:sp>
    <dsp:sp modelId="{4CCD97D0-30AC-4C6D-BD06-F8D29050925E}">
      <dsp:nvSpPr>
        <dsp:cNvPr id="0" name=""/>
        <dsp:cNvSpPr/>
      </dsp:nvSpPr>
      <dsp:spPr>
        <a:xfrm>
          <a:off x="2390" y="2759291"/>
          <a:ext cx="1896268" cy="1137760"/>
        </a:xfrm>
        <a:prstGeom prst="rect">
          <a:avLst/>
        </a:prstGeom>
        <a:solidFill>
          <a:schemeClr val="accent1">
            <a:shade val="80000"/>
            <a:hueOff val="197282"/>
            <a:satOff val="3764"/>
            <a:lumOff val="166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exo (incluye embarazo/parto)</a:t>
          </a:r>
        </a:p>
      </dsp:txBody>
      <dsp:txXfrm>
        <a:off x="2390" y="2759291"/>
        <a:ext cx="1896268" cy="1137760"/>
      </dsp:txXfrm>
    </dsp:sp>
    <dsp:sp modelId="{483AB9CE-7E99-4641-8A28-E74959ABA064}">
      <dsp:nvSpPr>
        <dsp:cNvPr id="0" name=""/>
        <dsp:cNvSpPr/>
      </dsp:nvSpPr>
      <dsp:spPr>
        <a:xfrm>
          <a:off x="2088285" y="2759291"/>
          <a:ext cx="1896268" cy="1137760"/>
        </a:xfrm>
        <a:prstGeom prst="rect">
          <a:avLst/>
        </a:prstGeom>
        <a:solidFill>
          <a:schemeClr val="accent1">
            <a:shade val="80000"/>
            <a:hueOff val="221943"/>
            <a:satOff val="4234"/>
            <a:lumOff val="1870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dentidad de género</a:t>
          </a:r>
          <a:endParaRPr lang="en-US" kern="1200"/>
        </a:p>
      </dsp:txBody>
      <dsp:txXfrm>
        <a:off x="2088285" y="2759291"/>
        <a:ext cx="1896268" cy="1137760"/>
      </dsp:txXfrm>
    </dsp:sp>
    <dsp:sp modelId="{EAD55615-8E89-44DC-83A8-7C3F87D1D88C}">
      <dsp:nvSpPr>
        <dsp:cNvPr id="0" name=""/>
        <dsp:cNvSpPr/>
      </dsp:nvSpPr>
      <dsp:spPr>
        <a:xfrm>
          <a:off x="4174180" y="2759291"/>
          <a:ext cx="1896268" cy="1137760"/>
        </a:xfrm>
        <a:prstGeom prst="rect">
          <a:avLst/>
        </a:prstGeom>
        <a:solidFill>
          <a:schemeClr val="accent1">
            <a:shade val="80000"/>
            <a:hueOff val="246603"/>
            <a:satOff val="4705"/>
            <a:lumOff val="207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Discapacidad física o mental </a:t>
          </a:r>
          <a:endParaRPr lang="en-US" kern="1200"/>
        </a:p>
      </dsp:txBody>
      <dsp:txXfrm>
        <a:off x="4174180" y="2759291"/>
        <a:ext cx="1896268" cy="1137760"/>
      </dsp:txXfrm>
    </dsp:sp>
    <dsp:sp modelId="{498343EC-04AC-4CAD-8B5E-ABC16ACC2F20}">
      <dsp:nvSpPr>
        <dsp:cNvPr id="0" name=""/>
        <dsp:cNvSpPr/>
      </dsp:nvSpPr>
      <dsp:spPr>
        <a:xfrm>
          <a:off x="6260075" y="2759291"/>
          <a:ext cx="1896268" cy="1137760"/>
        </a:xfrm>
        <a:prstGeom prst="rect">
          <a:avLst/>
        </a:prstGeom>
        <a:solidFill>
          <a:schemeClr val="accent1">
            <a:shade val="80000"/>
            <a:hueOff val="271263"/>
            <a:satOff val="5175"/>
            <a:lumOff val="228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5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Orientación sexual</a:t>
          </a:r>
          <a:endParaRPr lang="en-US" kern="1200"/>
        </a:p>
      </dsp:txBody>
      <dsp:txXfrm>
        <a:off x="6260075" y="2759291"/>
        <a:ext cx="1896268" cy="11377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682F32-5C4B-42CE-AEF9-AB56A3FF7419}">
      <dsp:nvSpPr>
        <dsp:cNvPr id="0" name=""/>
        <dsp:cNvSpPr/>
      </dsp:nvSpPr>
      <dsp:spPr>
        <a:xfrm>
          <a:off x="2980" y="788"/>
          <a:ext cx="8068874" cy="23122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2800" b="1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El acoso sexual </a:t>
          </a:r>
          <a:r>
            <a:rPr lang="es-LA" sz="28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s una conducta verbal, no verbal o física no deseada de naturaleza sexual que viola la dignidad de una persona.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28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Existen dos tipos diferentes de acoso sexual:</a:t>
          </a:r>
          <a:endParaRPr lang="en-US" kern="1200"/>
        </a:p>
      </dsp:txBody>
      <dsp:txXfrm>
        <a:off x="70704" y="68512"/>
        <a:ext cx="7933426" cy="2176831"/>
      </dsp:txXfrm>
    </dsp:sp>
    <dsp:sp modelId="{2BBD0B2E-4BE4-48AC-A125-1761F93E54D0}">
      <dsp:nvSpPr>
        <dsp:cNvPr id="0" name=""/>
        <dsp:cNvSpPr/>
      </dsp:nvSpPr>
      <dsp:spPr>
        <a:xfrm>
          <a:off x="2980" y="2529006"/>
          <a:ext cx="3871820" cy="23122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400" b="1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Quid Pro Quo</a:t>
          </a:r>
          <a:endParaRPr lang="en-GB" kern="1200">
            <a:solidFill>
              <a:srgbClr val="FF0000"/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Quid Pro Quo es latín y significa “esto por eso” y significa basar las decisiones laborales en si alguien acepta o rechaza una conducta sexual no deseada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Puede implicar una conducta sexualizada, íntima o romántica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Siempre involucra a gerentes u otras personas en puestos de autoridad. </a:t>
          </a:r>
          <a:endParaRPr lang="en-US" kern="1200"/>
        </a:p>
      </dsp:txBody>
      <dsp:txXfrm>
        <a:off x="70704" y="2596730"/>
        <a:ext cx="3736372" cy="2176831"/>
      </dsp:txXfrm>
    </dsp:sp>
    <dsp:sp modelId="{88F1ABA4-3573-4291-80C5-CCCD060891F4}">
      <dsp:nvSpPr>
        <dsp:cNvPr id="0" name=""/>
        <dsp:cNvSpPr/>
      </dsp:nvSpPr>
      <dsp:spPr>
        <a:xfrm>
          <a:off x="4200034" y="2529006"/>
          <a:ext cx="3871820" cy="23122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400" b="1" i="0" u="sng" strike="noStrike" kern="1200" cap="none" spc="0" baseline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Entorno de trabajo hostil</a:t>
          </a:r>
          <a:r>
            <a:rPr lang="es-LA" sz="1400" b="0" i="0" strike="noStrike" kern="1200" cap="none" spc="0" baseline="0">
              <a:solidFill>
                <a:srgbClr val="FF0000"/>
              </a:solidFill>
              <a:effectLst/>
              <a:latin typeface="Calibri"/>
              <a:ea typeface="Calibri"/>
              <a:cs typeface="Calibri"/>
            </a:rPr>
            <a:t>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ucta no deseada que crea un entorno laboral intimidante, hostil, degradante, humillante u ofensivo.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uede ser un comportamiento verbal, visual, físico, digital o escrito.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4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ualquier persona, no solo alguien en un puesto de autoridad, puede participar en este tipo de conducta ilegal. </a:t>
          </a:r>
          <a:endParaRPr lang="en-US" kern="1200"/>
        </a:p>
      </dsp:txBody>
      <dsp:txXfrm>
        <a:off x="4267758" y="2596730"/>
        <a:ext cx="3736372" cy="217683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48B920-B1E0-4886-9BA5-B1554C666682}">
      <dsp:nvSpPr>
        <dsp:cNvPr id="0" name=""/>
        <dsp:cNvSpPr/>
      </dsp:nvSpPr>
      <dsp:spPr>
        <a:xfrm>
          <a:off x="0" y="4929"/>
          <a:ext cx="3886200" cy="190510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n entorno de trabajo hostil puede implicar:</a:t>
          </a:r>
          <a:endParaRPr lang="en-US" kern="1200"/>
        </a:p>
      </dsp:txBody>
      <dsp:txXfrm>
        <a:off x="93000" y="97929"/>
        <a:ext cx="3700200" cy="1719109"/>
      </dsp:txXfrm>
    </dsp:sp>
    <dsp:sp modelId="{7652FA92-FF02-4F9E-A627-EE14DD86AB00}">
      <dsp:nvSpPr>
        <dsp:cNvPr id="0" name=""/>
        <dsp:cNvSpPr/>
      </dsp:nvSpPr>
      <dsp:spPr>
        <a:xfrm>
          <a:off x="0" y="1910038"/>
          <a:ext cx="3886200" cy="13153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387" tIns="25400" rIns="14224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LA" sz="2000" b="0" i="0" strike="noStrike" kern="1200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Un solo incidente grave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s-LA" sz="2000" b="0" i="0" strike="noStrike" kern="1200" cap="none" spc="0" baseline="0" dirty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Un patrón de incidentes más pequeños que se acumulan con el tiempo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en-US" sz="2000" kern="1200" dirty="0"/>
        </a:p>
      </dsp:txBody>
      <dsp:txXfrm>
        <a:off x="0" y="1910038"/>
        <a:ext cx="3886200" cy="1315347"/>
      </dsp:txXfrm>
    </dsp:sp>
    <dsp:sp modelId="{33BCEC26-C14D-4C1B-A0A8-57892C4646B9}">
      <dsp:nvSpPr>
        <dsp:cNvPr id="0" name=""/>
        <dsp:cNvSpPr/>
      </dsp:nvSpPr>
      <dsp:spPr>
        <a:xfrm>
          <a:off x="0" y="3225385"/>
          <a:ext cx="3886200" cy="190510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Un patrón de conducta puede ser invisible para los demás </a:t>
          </a:r>
          <a:endParaRPr lang="en-US" kern="1200"/>
        </a:p>
      </dsp:txBody>
      <dsp:txXfrm>
        <a:off x="93000" y="3318385"/>
        <a:ext cx="3700200" cy="171910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DE4789-F2C4-48F7-AD1A-1BC4182425B9}">
      <dsp:nvSpPr>
        <dsp:cNvPr id="0" name=""/>
        <dsp:cNvSpPr/>
      </dsp:nvSpPr>
      <dsp:spPr>
        <a:xfrm>
          <a:off x="745187" y="1247"/>
          <a:ext cx="6584460" cy="200826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2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Los estereotipos de género son ideas preconcebidas sobre cómo alguien debe ser, actuar o comportarse en función de su género</a:t>
          </a:r>
          <a:r>
            <a:rPr lang="es-LA" sz="35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. </a:t>
          </a:r>
          <a:endParaRPr lang="en-US" sz="3150" kern="1200" dirty="0"/>
        </a:p>
      </dsp:txBody>
      <dsp:txXfrm>
        <a:off x="745187" y="1247"/>
        <a:ext cx="6584460" cy="2008260"/>
      </dsp:txXfrm>
    </dsp:sp>
    <dsp:sp modelId="{C106FE37-78FC-4B91-AB63-2959EC40C132}">
      <dsp:nvSpPr>
        <dsp:cNvPr id="0" name=""/>
        <dsp:cNvSpPr/>
      </dsp:nvSpPr>
      <dsp:spPr>
        <a:xfrm>
          <a:off x="745187" y="2832565"/>
          <a:ext cx="6584460" cy="200826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2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or ejemplo:  </a:t>
          </a:r>
          <a:r>
            <a:rPr lang="es-LA" sz="3200" b="0" i="0" u="sng" strike="noStrike" kern="1200" cap="none" spc="0" baseline="0" dirty="0">
              <a:solidFill>
                <a:srgbClr val="FFFFFF"/>
              </a:solidFill>
              <a:effectLst/>
              <a:uFill>
                <a:solidFill>
                  <a:srgbClr val="FFFFFF"/>
                </a:solidFill>
              </a:uFill>
              <a:latin typeface="Calibri"/>
              <a:ea typeface="Calibri"/>
              <a:cs typeface="Calibri"/>
            </a:rPr>
            <a:t>Solo</a:t>
          </a:r>
          <a:r>
            <a:rPr lang="es-LA" sz="32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 pide a las empleadas que obtengan café y refrigerios para la sala de conferencias para la próxima reunión</a:t>
          </a:r>
          <a:r>
            <a:rPr lang="es-LA" sz="35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.</a:t>
          </a:r>
          <a:endParaRPr lang="en-US" sz="3150" kern="1200" dirty="0"/>
        </a:p>
      </dsp:txBody>
      <dsp:txXfrm>
        <a:off x="745187" y="2832565"/>
        <a:ext cx="6584460" cy="200826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61FA31-D264-43EA-875B-A2B7B8E7012B}">
      <dsp:nvSpPr>
        <dsp:cNvPr id="0" name=""/>
        <dsp:cNvSpPr/>
      </dsp:nvSpPr>
      <dsp:spPr>
        <a:xfrm>
          <a:off x="0" y="622433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2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Supervisores</a:t>
          </a:r>
          <a:endParaRPr lang="en-US" sz="3200" kern="1200" dirty="0"/>
        </a:p>
      </dsp:txBody>
      <dsp:txXfrm>
        <a:off x="0" y="622433"/>
        <a:ext cx="2458164" cy="1474898"/>
      </dsp:txXfrm>
    </dsp:sp>
    <dsp:sp modelId="{4573CE03-A660-44F7-B0C8-0BF6532B8A05}">
      <dsp:nvSpPr>
        <dsp:cNvPr id="0" name=""/>
        <dsp:cNvSpPr/>
      </dsp:nvSpPr>
      <dsp:spPr>
        <a:xfrm>
          <a:off x="2703980" y="622433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Gerentes</a:t>
          </a:r>
          <a:endParaRPr lang="en-US" kern="1200"/>
        </a:p>
      </dsp:txBody>
      <dsp:txXfrm>
        <a:off x="2703980" y="622433"/>
        <a:ext cx="2458164" cy="1474898"/>
      </dsp:txXfrm>
    </dsp:sp>
    <dsp:sp modelId="{7D292785-63DD-40E5-BF38-3BDE0B2D1FB7}">
      <dsp:nvSpPr>
        <dsp:cNvPr id="0" name=""/>
        <dsp:cNvSpPr/>
      </dsp:nvSpPr>
      <dsp:spPr>
        <a:xfrm>
          <a:off x="5407961" y="622433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pañeros de trabajo</a:t>
          </a:r>
          <a:endParaRPr lang="en-US" sz="3200" kern="1200"/>
        </a:p>
      </dsp:txBody>
      <dsp:txXfrm>
        <a:off x="5407961" y="622433"/>
        <a:ext cx="2458164" cy="1474898"/>
      </dsp:txXfrm>
    </dsp:sp>
    <dsp:sp modelId="{8E5F5894-71D7-4AD0-AB3F-825397E67428}">
      <dsp:nvSpPr>
        <dsp:cNvPr id="0" name=""/>
        <dsp:cNvSpPr/>
      </dsp:nvSpPr>
      <dsp:spPr>
        <a:xfrm>
          <a:off x="0" y="2343148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200" b="0" i="0" strike="noStrike" kern="1200" cap="none" spc="0" baseline="0" dirty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roveedores</a:t>
          </a:r>
          <a:endParaRPr lang="en-US" sz="3200" kern="1200" dirty="0"/>
        </a:p>
      </dsp:txBody>
      <dsp:txXfrm>
        <a:off x="0" y="2343148"/>
        <a:ext cx="2458164" cy="1474898"/>
      </dsp:txXfrm>
    </dsp:sp>
    <dsp:sp modelId="{41438514-9CE3-4267-8433-2A509C733917}">
      <dsp:nvSpPr>
        <dsp:cNvPr id="0" name=""/>
        <dsp:cNvSpPr/>
      </dsp:nvSpPr>
      <dsp:spPr>
        <a:xfrm>
          <a:off x="2703980" y="2343148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lientes</a:t>
          </a:r>
          <a:endParaRPr lang="en-US" kern="1200"/>
        </a:p>
      </dsp:txBody>
      <dsp:txXfrm>
        <a:off x="2703980" y="2343148"/>
        <a:ext cx="2458164" cy="1474898"/>
      </dsp:txXfrm>
    </dsp:sp>
    <dsp:sp modelId="{CD7FF0B3-454C-4F5A-9542-9E88E96578B7}">
      <dsp:nvSpPr>
        <dsp:cNvPr id="0" name=""/>
        <dsp:cNvSpPr/>
      </dsp:nvSpPr>
      <dsp:spPr>
        <a:xfrm>
          <a:off x="5407961" y="2343148"/>
          <a:ext cx="2458164" cy="147489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32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tratistas</a:t>
          </a:r>
          <a:endParaRPr lang="en-US" sz="3200" kern="1200"/>
        </a:p>
      </dsp:txBody>
      <dsp:txXfrm>
        <a:off x="5407961" y="2343148"/>
        <a:ext cx="2458164" cy="147489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286E4F-7206-4C05-AD55-DC212A1A5DC4}">
      <dsp:nvSpPr>
        <dsp:cNvPr id="0" name=""/>
        <dsp:cNvSpPr/>
      </dsp:nvSpPr>
      <dsp:spPr>
        <a:xfrm>
          <a:off x="864" y="338878"/>
          <a:ext cx="3372691" cy="146194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ucta visual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Mirar lascivamente, hacer gestos sexual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Exhibición de objetos, imágenes, caricaturas o carteles sugestivos en formato impreso o digital</a:t>
          </a:r>
        </a:p>
      </dsp:txBody>
      <dsp:txXfrm>
        <a:off x="864" y="338878"/>
        <a:ext cx="3372691" cy="1461940"/>
      </dsp:txXfrm>
    </dsp:sp>
    <dsp:sp modelId="{988B99C9-8C3B-43DD-B195-DE7699CD3887}">
      <dsp:nvSpPr>
        <dsp:cNvPr id="0" name=""/>
        <dsp:cNvSpPr/>
      </dsp:nvSpPr>
      <dsp:spPr>
        <a:xfrm>
          <a:off x="3710825" y="338878"/>
          <a:ext cx="3372691" cy="146194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ucta física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Tocar, abrazar o masajea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gresió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Impedir o bloquear el movimiento </a:t>
          </a:r>
        </a:p>
      </dsp:txBody>
      <dsp:txXfrm>
        <a:off x="3710825" y="338878"/>
        <a:ext cx="3372691" cy="1461940"/>
      </dsp:txXfrm>
    </dsp:sp>
    <dsp:sp modelId="{66092D74-200C-439C-BC45-FB0319721481}">
      <dsp:nvSpPr>
        <dsp:cNvPr id="0" name=""/>
        <dsp:cNvSpPr/>
      </dsp:nvSpPr>
      <dsp:spPr>
        <a:xfrm>
          <a:off x="488269" y="2138087"/>
          <a:ext cx="6107842" cy="215185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nducta verbal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Hacer o usar comentarios, insultos o bromas despectivos en persona o a través de mensajes de texto, correos electrónicos o mensaj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ropuestas o insinuaciones sexuales verbale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Abuso verbal de naturaleza sexual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Comentarios verbales gráficos sobre el cuerpo de una persona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LA" sz="1600" b="0" i="0" strike="noStrike" kern="1200" cap="none" spc="0" baseline="0">
              <a:solidFill>
                <a:srgbClr val="FFFFFF"/>
              </a:solidFill>
              <a:effectLst/>
              <a:latin typeface="Calibri"/>
              <a:ea typeface="Calibri"/>
              <a:cs typeface="Calibri"/>
            </a:rPr>
            <a:t>Palabras sexualmente degradantes utilizadas para describir a una persona, cartas, notas o invitaciones sugestivas u obscenas</a:t>
          </a:r>
        </a:p>
      </dsp:txBody>
      <dsp:txXfrm>
        <a:off x="488269" y="2138087"/>
        <a:ext cx="6107842" cy="215185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9A27DE-1A9D-4CFC-BE2E-D6325D4C73B2}">
      <dsp:nvSpPr>
        <dsp:cNvPr id="0" name=""/>
        <dsp:cNvSpPr/>
      </dsp:nvSpPr>
      <dsp:spPr>
        <a:xfrm>
          <a:off x="902116" y="230863"/>
          <a:ext cx="634394" cy="63439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FCE879-EDA8-4A56-B9E8-3934B4682EB9}">
      <dsp:nvSpPr>
        <dsp:cNvPr id="0" name=""/>
        <dsp:cNvSpPr/>
      </dsp:nvSpPr>
      <dsp:spPr>
        <a:xfrm>
          <a:off x="514430" y="1093785"/>
          <a:ext cx="1409765" cy="6343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Interacciones virtuales</a:t>
          </a:r>
          <a:endParaRPr lang="en-US" kern="1200"/>
        </a:p>
      </dsp:txBody>
      <dsp:txXfrm>
        <a:off x="514430" y="1093785"/>
        <a:ext cx="1409765" cy="634394"/>
      </dsp:txXfrm>
    </dsp:sp>
    <dsp:sp modelId="{B02E9D7E-F6E6-43AD-AAC9-B8DAE5007E4C}">
      <dsp:nvSpPr>
        <dsp:cNvPr id="0" name=""/>
        <dsp:cNvSpPr/>
      </dsp:nvSpPr>
      <dsp:spPr>
        <a:xfrm>
          <a:off x="2558590" y="230863"/>
          <a:ext cx="634394" cy="63439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45D0FB-691D-4DD1-A770-EFD951B22D94}">
      <dsp:nvSpPr>
        <dsp:cNvPr id="0" name=""/>
        <dsp:cNvSpPr/>
      </dsp:nvSpPr>
      <dsp:spPr>
        <a:xfrm>
          <a:off x="2170905" y="1093785"/>
          <a:ext cx="1409765" cy="6343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Fiestas navideñas</a:t>
          </a:r>
          <a:endParaRPr lang="en-US" kern="1200"/>
        </a:p>
      </dsp:txBody>
      <dsp:txXfrm>
        <a:off x="2170905" y="1093785"/>
        <a:ext cx="1409765" cy="634394"/>
      </dsp:txXfrm>
    </dsp:sp>
    <dsp:sp modelId="{4E3EF8FC-D81C-4C6A-806C-EA4743F4BA77}">
      <dsp:nvSpPr>
        <dsp:cNvPr id="0" name=""/>
        <dsp:cNvSpPr/>
      </dsp:nvSpPr>
      <dsp:spPr>
        <a:xfrm>
          <a:off x="4215065" y="230863"/>
          <a:ext cx="634394" cy="63439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5E8662-2533-42D8-B4B8-521917D7DEAC}">
      <dsp:nvSpPr>
        <dsp:cNvPr id="0" name=""/>
        <dsp:cNvSpPr/>
      </dsp:nvSpPr>
      <dsp:spPr>
        <a:xfrm>
          <a:off x="3827379" y="1093785"/>
          <a:ext cx="1409765" cy="6343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midas</a:t>
          </a:r>
          <a:endParaRPr lang="en-US" kern="1200"/>
        </a:p>
      </dsp:txBody>
      <dsp:txXfrm>
        <a:off x="3827379" y="1093785"/>
        <a:ext cx="1409765" cy="634394"/>
      </dsp:txXfrm>
    </dsp:sp>
    <dsp:sp modelId="{57CC4C62-BD4B-45BD-83D8-0A29B71FFADD}">
      <dsp:nvSpPr>
        <dsp:cNvPr id="0" name=""/>
        <dsp:cNvSpPr/>
      </dsp:nvSpPr>
      <dsp:spPr>
        <a:xfrm>
          <a:off x="960981" y="2152733"/>
          <a:ext cx="634394" cy="63439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47C313-91DA-4206-839D-B34E91EFC201}">
      <dsp:nvSpPr>
        <dsp:cNvPr id="0" name=""/>
        <dsp:cNvSpPr/>
      </dsp:nvSpPr>
      <dsp:spPr>
        <a:xfrm>
          <a:off x="564815" y="2905372"/>
          <a:ext cx="1409765" cy="6343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Conferencias y ferias comerciales</a:t>
          </a:r>
          <a:endParaRPr lang="en-US" kern="1200"/>
        </a:p>
      </dsp:txBody>
      <dsp:txXfrm>
        <a:off x="564815" y="2905372"/>
        <a:ext cx="1409765" cy="634394"/>
      </dsp:txXfrm>
    </dsp:sp>
    <dsp:sp modelId="{E86A0C04-E9B4-4015-A6A8-3FB1046B29CE}">
      <dsp:nvSpPr>
        <dsp:cNvPr id="0" name=""/>
        <dsp:cNvSpPr/>
      </dsp:nvSpPr>
      <dsp:spPr>
        <a:xfrm>
          <a:off x="2558590" y="2080621"/>
          <a:ext cx="634394" cy="634394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18699A-9F44-43C4-BACD-AFA07472911A}">
      <dsp:nvSpPr>
        <dsp:cNvPr id="0" name=""/>
        <dsp:cNvSpPr/>
      </dsp:nvSpPr>
      <dsp:spPr>
        <a:xfrm>
          <a:off x="2170905" y="2943544"/>
          <a:ext cx="1409765" cy="6343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Viajes de negocios</a:t>
          </a:r>
          <a:endParaRPr lang="en-US" kern="1200"/>
        </a:p>
      </dsp:txBody>
      <dsp:txXfrm>
        <a:off x="2170905" y="2943544"/>
        <a:ext cx="1409765" cy="634394"/>
      </dsp:txXfrm>
    </dsp:sp>
    <dsp:sp modelId="{5421B5D6-8F0B-4CBE-B7B3-DBCDD202F370}">
      <dsp:nvSpPr>
        <dsp:cNvPr id="0" name=""/>
        <dsp:cNvSpPr/>
      </dsp:nvSpPr>
      <dsp:spPr>
        <a:xfrm>
          <a:off x="4215065" y="2080621"/>
          <a:ext cx="634394" cy="634394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CD23AD-0F84-4328-BCA7-961CDC0F9CC6}">
      <dsp:nvSpPr>
        <dsp:cNvPr id="0" name=""/>
        <dsp:cNvSpPr/>
      </dsp:nvSpPr>
      <dsp:spPr>
        <a:xfrm>
          <a:off x="3827379" y="2943544"/>
          <a:ext cx="1409765" cy="6343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LA" sz="1700" b="0" i="0" strike="noStrike" kern="1200" cap="none" spc="0" baseline="0">
              <a:solidFill>
                <a:srgbClr val="000000"/>
              </a:solidFill>
              <a:effectLst/>
              <a:latin typeface="Calibri"/>
              <a:ea typeface="Calibri"/>
              <a:cs typeface="Calibri"/>
            </a:rPr>
            <a:t>Trabajadores remotos y en el hogar</a:t>
          </a:r>
          <a:endParaRPr lang="en-US" kern="1200"/>
        </a:p>
      </dsp:txBody>
      <dsp:txXfrm>
        <a:off x="3827379" y="2943544"/>
        <a:ext cx="1409765" cy="6343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diagrams.loki3.com/BracketList">
  <dgm:title val="Vertical Bracket List"/>
  <dgm:desc val="Use to show grouped blocks of information.  Works well with large amounts of Level 2 text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169863"/>
            <a:ext cx="6159500" cy="462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00792" y="4940567"/>
            <a:ext cx="6148491" cy="3932540"/>
          </a:xfrm>
          <a:prstGeom prst="rect">
            <a:avLst/>
          </a:prstGeom>
        </p:spPr>
        <p:txBody>
          <a:bodyPr vert="horz" lIns="91001" tIns="45502" rIns="91001" bIns="455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l">
              <a:defRPr sz="1000">
                <a:solidFill>
                  <a:srgbClr val="203864"/>
                </a:solidFill>
              </a:defRPr>
            </a:lvl1pPr>
          </a:lstStyle>
          <a:p>
            <a:r>
              <a:rPr lang="en-US"/>
              <a:t>RPM International Inc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7742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r">
              <a:defRPr sz="1000">
                <a:solidFill>
                  <a:srgbClr val="203864"/>
                </a:solidFill>
              </a:defRPr>
            </a:lvl1pPr>
          </a:lstStyle>
          <a:p>
            <a:fld id="{AA05FC04-006C-4370-AA2A-61F90C8564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77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t>1</a:t>
            </a:fld>
            <a:endParaRPr lang="en-US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72E06DF-B426-4181-8E0A-454FF77366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93700" y="169863"/>
            <a:ext cx="6162675" cy="46228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C2D10176-95FB-4A01-AB36-F535C89BE4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763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385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4AFCF93-F657-4B86-AF22-65B0BC4CC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40350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4AFCF93-F657-4B86-AF22-65B0BC4CC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7C78A8F-C7D7-4FCD-ABDF-9F33A29FBA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5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2464026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D9C2DC-7DD7-4CCC-9988-35B863DFA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291004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D9C2DC-7DD7-4CCC-9988-35B863DFA9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22960" y="182880"/>
            <a:ext cx="7358907" cy="787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000"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32562" y="1508760"/>
            <a:ext cx="8074836" cy="48420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5">
            <a:extLst>
              <a:ext uri="{FF2B5EF4-FFF2-40B4-BE49-F238E27FC236}">
                <a16:creationId xmlns:a16="http://schemas.microsoft.com/office/drawing/2014/main" id="{04D026DA-6CE9-4966-BA89-38F47DC2EE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58353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2C2B23F-24A9-4052-948D-555AAA1D6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003217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C20818-8DDA-3F49-982E-FE672F9E4B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663" t="1445" r="10663"/>
          <a:stretch>
            <a:fillRect/>
          </a:stretch>
        </p:blipFill>
        <p:spPr>
          <a:xfrm>
            <a:off x="0" y="0"/>
            <a:ext cx="9144000" cy="51508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DEFDE6D-6AB1-134F-BF2D-97D50BB8F9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89924" y="1560352"/>
            <a:ext cx="1604880" cy="28061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35A33B2-1602-A14D-97FA-7C12265B23CF}"/>
              </a:ext>
            </a:extLst>
          </p:cNvPr>
          <p:cNvSpPr/>
          <p:nvPr userDrawn="1"/>
        </p:nvSpPr>
        <p:spPr>
          <a:xfrm>
            <a:off x="0" y="5112218"/>
            <a:ext cx="9144000" cy="17457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FBB4451-9D41-6B4E-8FB0-339D4F654ADC}"/>
              </a:ext>
            </a:extLst>
          </p:cNvPr>
          <p:cNvSpPr/>
          <p:nvPr userDrawn="1"/>
        </p:nvSpPr>
        <p:spPr>
          <a:xfrm flipH="1">
            <a:off x="0" y="4135179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E489EC-E4C0-BC4F-B047-C4F8266835C7}"/>
              </a:ext>
            </a:extLst>
          </p:cNvPr>
          <p:cNvCxnSpPr/>
          <p:nvPr userDrawn="1"/>
        </p:nvCxnSpPr>
        <p:spPr>
          <a:xfrm flipV="1">
            <a:off x="0" y="4268039"/>
            <a:ext cx="9144000" cy="99078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3233C4D-12E6-CD44-B89E-3C9A22EA8343}"/>
              </a:ext>
            </a:extLst>
          </p:cNvPr>
          <p:cNvCxnSpPr/>
          <p:nvPr userDrawn="1"/>
        </p:nvCxnSpPr>
        <p:spPr>
          <a:xfrm flipV="1">
            <a:off x="0" y="4110728"/>
            <a:ext cx="9144000" cy="995008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D9ED571-82D2-D246-A47D-A80C822ADDD7}"/>
              </a:ext>
            </a:extLst>
          </p:cNvPr>
          <p:cNvSpPr txBox="1"/>
          <p:nvPr userDrawn="1"/>
        </p:nvSpPr>
        <p:spPr>
          <a:xfrm>
            <a:off x="394768" y="421272"/>
            <a:ext cx="3699545" cy="51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LA" sz="2800" b="1" i="0" strike="noStrike" cap="none" spc="0" baseline="0">
                <a:solidFill>
                  <a:srgbClr val="FFFFFF"/>
                </a:solidFill>
                <a:effectLst>
                  <a:outerShdw blurRad="50800" dist="38100" dir="2700000" algn="tl" rotWithShape="0">
                    <a:srgbClr val="000000">
                      <a:alpha val="40000"/>
                    </a:srgbClr>
                  </a:outerShdw>
                </a:effectLst>
                <a:latin typeface="Calibri"/>
                <a:ea typeface="Calibri"/>
                <a:cs typeface="Calibri"/>
              </a:rPr>
              <a:t>EL VALOR DE 168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210BB95-7967-7648-835C-D3C45FEF1074}"/>
              </a:ext>
            </a:extLst>
          </p:cNvPr>
          <p:cNvCxnSpPr/>
          <p:nvPr userDrawn="1"/>
        </p:nvCxnSpPr>
        <p:spPr>
          <a:xfrm>
            <a:off x="397564" y="921937"/>
            <a:ext cx="282915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2122B-42C6-2540-B8D4-3C80E6EA587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95029" y="366842"/>
            <a:ext cx="1194670" cy="57406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C04F3EC-D42F-3844-AEEA-6508D089560E}"/>
              </a:ext>
            </a:extLst>
          </p:cNvPr>
          <p:cNvCxnSpPr>
            <a:stCxn id="7" idx="0"/>
          </p:cNvCxnSpPr>
          <p:nvPr userDrawn="1"/>
        </p:nvCxnSpPr>
        <p:spPr>
          <a:xfrm flipH="1">
            <a:off x="9144000" y="4135179"/>
            <a:ext cx="0" cy="3369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5431631"/>
            <a:ext cx="7886700" cy="1019969"/>
          </a:xfrm>
        </p:spPr>
        <p:txBody>
          <a:bodyPr anchor="t"/>
          <a:lstStyle>
            <a:lvl1pPr algn="ctr">
              <a:defRPr sz="21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3888" y="5906287"/>
            <a:ext cx="7886700" cy="824714"/>
          </a:xfrm>
        </p:spPr>
        <p:txBody>
          <a:bodyPr anchor="t">
            <a:normAutofit/>
          </a:bodyPr>
          <a:lstStyle>
            <a:lvl1pPr marL="0" indent="0" algn="ctr">
              <a:buNone/>
              <a:defRPr sz="19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67379C8A-A8C7-5444-8968-BF22585B14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77E463F-897D-E840-990E-1EA31520D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462826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08760"/>
            <a:ext cx="3886200" cy="51354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08760"/>
            <a:ext cx="3886200" cy="51354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7717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82D8D2-D001-447A-9CC3-6A70A245A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A0836A-9EC2-4646-A6C5-9387BF5F7E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8DB757-C18B-024A-B87B-4106DB5C635E}"/>
              </a:ext>
            </a:extLst>
          </p:cNvPr>
          <p:cNvSpPr/>
          <p:nvPr userDrawn="1"/>
        </p:nvSpPr>
        <p:spPr>
          <a:xfrm>
            <a:off x="0" y="0"/>
            <a:ext cx="9144000" cy="6362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74402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E2D8CFC-3DEC-FD4D-96D7-7194133CD71D}"/>
              </a:ext>
            </a:extLst>
          </p:cNvPr>
          <p:cNvSpPr/>
          <p:nvPr userDrawn="1"/>
        </p:nvSpPr>
        <p:spPr>
          <a:xfrm>
            <a:off x="0" y="0"/>
            <a:ext cx="9144000" cy="47897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32B61A1D-A6C9-744B-8A85-17AC7E0D5A56}"/>
              </a:ext>
            </a:extLst>
          </p:cNvPr>
          <p:cNvSpPr/>
          <p:nvPr userDrawn="1"/>
        </p:nvSpPr>
        <p:spPr>
          <a:xfrm flipV="1">
            <a:off x="0" y="469706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C1FA3CD-B01F-DC44-8BC7-68255466CE53}"/>
              </a:ext>
            </a:extLst>
          </p:cNvPr>
          <p:cNvSpPr/>
          <p:nvPr userDrawn="1"/>
        </p:nvSpPr>
        <p:spPr>
          <a:xfrm>
            <a:off x="-539388" y="-127453"/>
            <a:ext cx="1288868" cy="159366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47609-9833-467F-ADAA-9AD838BECE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27716345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47609-9833-467F-ADAA-9AD838BE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DC626B4-3FDA-42D9-90C5-C9E389B82763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40513" y="1508760"/>
            <a:ext cx="8222925" cy="495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842DD3-1F47-49B9-8BEC-7D41C6439C24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65FD2D-E7F9-42B7-BFD9-48910D97D38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C7278D-9D52-4F44-9B05-6B28B38BBC0A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273498" y="122216"/>
            <a:ext cx="449083" cy="21579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031173-76F9-0B4F-ADB8-48A4534C30F2}"/>
              </a:ext>
            </a:extLst>
          </p:cNvPr>
          <p:cNvCxnSpPr/>
          <p:nvPr userDrawn="1"/>
        </p:nvCxnSpPr>
        <p:spPr>
          <a:xfrm flipV="1">
            <a:off x="0" y="412750"/>
            <a:ext cx="9144000" cy="990786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6C55FC23-F9BC-A94F-8AD6-09F5A1F6773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9330" y="431503"/>
            <a:ext cx="565670" cy="98906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83A96E6-6F6D-8449-930B-00072C356C7C}"/>
              </a:ext>
            </a:extLst>
          </p:cNvPr>
          <p:cNvCxnSpPr>
            <a:stCxn id="8" idx="0"/>
          </p:cNvCxnSpPr>
          <p:nvPr userDrawn="1"/>
        </p:nvCxnSpPr>
        <p:spPr>
          <a:xfrm flipV="1">
            <a:off x="0" y="473075"/>
            <a:ext cx="9144000" cy="99500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19807" y="208455"/>
            <a:ext cx="7371956" cy="7679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0884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5" r:id="rId5"/>
  </p:sldLayoutIdLst>
  <p:transition spd="med">
    <p:fade/>
  </p:transition>
  <p:hf hdr="0" ftr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C812F8B-2EF6-0C48-B62F-F33EBB9687F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0663" t="1445" r="10663"/>
          <a:stretch>
            <a:fillRect/>
          </a:stretch>
        </p:blipFill>
        <p:spPr>
          <a:xfrm>
            <a:off x="0" y="0"/>
            <a:ext cx="9144000" cy="51508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04C59E1-3B19-0D40-B987-2944D4246F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9924" y="1560352"/>
            <a:ext cx="1604880" cy="28061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D1A6E58-379A-954B-8D70-B060637170A2}"/>
              </a:ext>
            </a:extLst>
          </p:cNvPr>
          <p:cNvSpPr/>
          <p:nvPr/>
        </p:nvSpPr>
        <p:spPr>
          <a:xfrm>
            <a:off x="0" y="5112218"/>
            <a:ext cx="9144000" cy="17457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DFF0CA6-E303-2348-B796-6D178EB6E4D3}"/>
              </a:ext>
            </a:extLst>
          </p:cNvPr>
          <p:cNvSpPr/>
          <p:nvPr/>
        </p:nvSpPr>
        <p:spPr>
          <a:xfrm flipH="1">
            <a:off x="0" y="4152463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F7D5242-B4D2-1646-89B9-3E03D1D54BCE}"/>
              </a:ext>
            </a:extLst>
          </p:cNvPr>
          <p:cNvCxnSpPr/>
          <p:nvPr/>
        </p:nvCxnSpPr>
        <p:spPr>
          <a:xfrm flipV="1">
            <a:off x="0" y="4268039"/>
            <a:ext cx="9144000" cy="99078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E150B4-CE81-B645-B8DD-D661ADB3040F}"/>
              </a:ext>
            </a:extLst>
          </p:cNvPr>
          <p:cNvCxnSpPr/>
          <p:nvPr/>
        </p:nvCxnSpPr>
        <p:spPr>
          <a:xfrm flipV="1">
            <a:off x="0" y="4110728"/>
            <a:ext cx="9144000" cy="995008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8790" y="5615189"/>
            <a:ext cx="6593548" cy="1077159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s-LA" sz="22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Prevención de la discriminación y el acoso - </a:t>
            </a:r>
            <a:endParaRPr lang="en-US" sz="2200" b="1">
              <a:solidFill>
                <a:schemeClr val="bg1"/>
              </a:solidFill>
            </a:endParaRPr>
          </a:p>
          <a:p>
            <a:pPr algn="l">
              <a:lnSpc>
                <a:spcPct val="100000"/>
              </a:lnSpc>
              <a:spcBef>
                <a:spcPct val="0"/>
              </a:spcBef>
            </a:pPr>
            <a:r>
              <a:rPr lang="es-LA" sz="22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Calibri"/>
                <a:cs typeface="Calibri"/>
              </a:rPr>
              <a:t>Capacitación sobre cumplimiento FY24</a:t>
            </a:r>
            <a:endParaRPr lang="en-US" sz="22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42425E-A48E-8D44-A86D-85D3E13207A7}"/>
              </a:ext>
            </a:extLst>
          </p:cNvPr>
          <p:cNvSpPr txBox="1"/>
          <p:nvPr/>
        </p:nvSpPr>
        <p:spPr>
          <a:xfrm>
            <a:off x="394768" y="421272"/>
            <a:ext cx="3699545" cy="51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LA" sz="2800" b="1" i="0" strike="noStrike" cap="none" spc="0" baseline="0">
                <a:solidFill>
                  <a:srgbClr val="FFFFFF"/>
                </a:solidFill>
                <a:effectLst>
                  <a:outerShdw blurRad="50800" dist="38100" dir="2700000" algn="tl" rotWithShape="0">
                    <a:srgbClr val="000000">
                      <a:alpha val="40000"/>
                    </a:srgbClr>
                  </a:outerShdw>
                </a:effectLst>
                <a:latin typeface="Calibri"/>
                <a:ea typeface="Calibri"/>
                <a:cs typeface="Calibri"/>
              </a:rPr>
              <a:t>EL VALOR DE 168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81D68DD-7A28-DF47-ABBD-D69140B4E63D}"/>
              </a:ext>
            </a:extLst>
          </p:cNvPr>
          <p:cNvCxnSpPr/>
          <p:nvPr/>
        </p:nvCxnSpPr>
        <p:spPr>
          <a:xfrm>
            <a:off x="397564" y="921937"/>
            <a:ext cx="282915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09E664D-F33C-9D48-8022-9E0FE5BA76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5029" y="366842"/>
            <a:ext cx="1194670" cy="574062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B091654-56DC-5146-B9A1-A4907B645E15}"/>
              </a:ext>
            </a:extLst>
          </p:cNvPr>
          <p:cNvCxnSpPr>
            <a:stCxn id="15" idx="0"/>
          </p:cNvCxnSpPr>
          <p:nvPr/>
        </p:nvCxnSpPr>
        <p:spPr>
          <a:xfrm flipH="1">
            <a:off x="9144000" y="4152463"/>
            <a:ext cx="0" cy="3369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086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p159="http://schemas.microsoft.com/office/powerpoint/2015/09/main" xmlns:p15="http://schemas.microsoft.com/office/powerpoint/2012/main" xmlns:a14="http://schemas.microsoft.com/office/drawing/2010/main" xmlns:wp="http://schemas.openxmlformats.org/drawingml/2006/wordprocessingDrawing" xmlns:w="http://schemas.openxmlformats.org/wordprocessingml/2006/main" xmlns:m="http://schemas.openxmlformats.org/officeDocument/2006/math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40FB64-517A-045C-1638-7D89A7730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Estereotipos de géne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5E14-FCB1-3B13-D835-D59B6037D2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graphicFrame>
        <p:nvGraphicFramePr>
          <p:cNvPr id="13" name="TextBox 9">
            <a:extLst>
              <a:ext uri="{FF2B5EF4-FFF2-40B4-BE49-F238E27FC236}">
                <a16:creationId xmlns:a16="http://schemas.microsoft.com/office/drawing/2014/main" id="{A605F809-B93D-1529-EAB4-05210895DD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5048432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29028075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BF7C06-45B6-945D-F08D-4AAB849266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es-LA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¿VERDADERO O FALS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823FF2-551E-7D6F-6CCD-EA59870F37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l acoso, incluido el acoso sexual, suele ser solo un problema para la persona que es víctima de la conducta indebida.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887C8EDA-FA8D-283E-29C1-6B273725AD7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71407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5B0CF-AD71-9F8C-FFBD-862027E1DE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es-LA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Respuesta..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FB85F-FAA5-6EF4-2934-3E9F00A245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declaración anterior es </a:t>
            </a:r>
            <a:r>
              <a:rPr lang="es-LA" sz="1800" b="0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falsa.</a:t>
            </a:r>
          </a:p>
          <a:p>
            <a:pPr marL="0" indent="0">
              <a:buNone/>
            </a:pPr>
            <a:endParaRPr lang="en-GB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l acoso afecta el objetivo de la conducta indebida. Pero también afecta a los demás, y envía un mensaje sobre lo que está y no está bien en el lugar de trabajo a cualquier persona que lo vea o aprenda al respecto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21FA72F-4212-FE12-1424-62C3FEE3D4ED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38CE618F-A5D6-E7C6-2EA4-C0E26217EC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849477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89488-AD7C-C86B-4344-F39C58EFA7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Acoso sexual: ¿puede detectarlo? 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A181491-B689-7B55-6950-8F5EF03E8E8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graphicFrame>
        <p:nvGraphicFramePr>
          <p:cNvPr id="8" name="TextBox 5">
            <a:extLst>
              <a:ext uri="{FF2B5EF4-FFF2-40B4-BE49-F238E27FC236}">
                <a16:creationId xmlns:a16="http://schemas.microsoft.com/office/drawing/2014/main" id="{25435880-DE83-4AE6-0C0C-E8BEDD1254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0092469"/>
              </p:ext>
            </p:extLst>
          </p:nvPr>
        </p:nvGraphicFramePr>
        <p:xfrm>
          <a:off x="628650" y="2203704"/>
          <a:ext cx="7866126" cy="444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2F99416-9CFC-4A6D-56C2-F38A9754D7B6}"/>
              </a:ext>
            </a:extLst>
          </p:cNvPr>
          <p:cNvSpPr txBox="1"/>
          <p:nvPr/>
        </p:nvSpPr>
        <p:spPr>
          <a:xfrm>
            <a:off x="628650" y="1765218"/>
            <a:ext cx="8282178" cy="6400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/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ualquier persona puede participar en acoso sexual, y cualquier persona puede ser el objetivo, incluidos los siguientes:</a:t>
            </a:r>
          </a:p>
        </p:txBody>
      </p:sp>
    </p:spTree>
    <p:extLst>
      <p:ext uri="{BB962C8B-B14F-4D97-AF65-F5344CB8AC3E}">
        <p14:creationId xmlns:p14="http://schemas.microsoft.com/office/powerpoint/2010/main" val="969127443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D89D8-C4F0-F31B-727F-15B2F6DC5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Lenguaje y comentarios inapropiad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675047-B99C-FF66-70F8-F831DAF176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s-LA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¿Alguna de estas situaciones es inapropiada?</a:t>
            </a:r>
          </a:p>
          <a:p>
            <a:endParaRPr lang="en-GB"/>
          </a:p>
          <a:p>
            <a:pPr marL="685775" lvl="1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Un proveedor se comunica sin permiso para tocar la cara de otro empleado para quitarse las pestañas.</a:t>
            </a:r>
          </a:p>
          <a:p>
            <a:pPr marL="685775" lvl="1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Un gerente alienta a una empleada a usar sus “dijes femeninos” para hacer un punto en una reunión.</a:t>
            </a:r>
          </a:p>
          <a:p>
            <a:pPr marL="685775" lvl="1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Un compañero de trabajo hace un comentario sobre el estado no binario de un cliente... “Es solo una tendencia”... “Él, ella, ellos... ¡Oh, lo que sea!”</a:t>
            </a:r>
          </a:p>
          <a:p>
            <a:pPr lvl="1"/>
            <a:endParaRPr lang="en-GB"/>
          </a:p>
          <a:p>
            <a:pPr marL="342875" lvl="1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ESPUESTA... </a:t>
            </a:r>
            <a:r>
              <a:rPr lang="es-LA" sz="18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¡SÍ! </a:t>
            </a:r>
          </a:p>
          <a:p>
            <a:pPr marL="342875" lvl="1" indent="0">
              <a:buNone/>
            </a:pPr>
            <a:endParaRPr lang="en-GB" b="1">
              <a:solidFill>
                <a:srgbClr val="FF0000"/>
              </a:solidFill>
            </a:endParaRPr>
          </a:p>
          <a:p>
            <a:pPr marL="342875" lvl="1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ecuerde... El acoso sexual puede incluir conductas no deseadas u ofensivas dirigidas a:</a:t>
            </a:r>
          </a:p>
          <a:p>
            <a:pPr marL="342875" lvl="1" indent="0">
              <a:buNone/>
            </a:pPr>
            <a:endParaRPr lang="en-GB"/>
          </a:p>
          <a:p>
            <a:pPr marL="342875" lvl="1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Identidad de género</a:t>
            </a:r>
          </a:p>
          <a:p>
            <a:pPr marL="342875" lvl="1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Expresión de género </a:t>
            </a:r>
          </a:p>
          <a:p>
            <a:pPr marL="342875" lvl="1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Estado transgénero</a:t>
            </a:r>
          </a:p>
          <a:p>
            <a:pPr marL="342875" lvl="1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	- Orientación sexu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B0E1BA-5FF0-2785-4FDB-357BAF0F1F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0264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3BD99-728D-2A6F-22A6-5226E04A7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Entorno de trabajo hosti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0333A6-3546-C11B-87C7-BE48050D68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15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5DFE61-20E0-D5EC-D0CE-22F6BE2E082B}"/>
              </a:ext>
            </a:extLst>
          </p:cNvPr>
          <p:cNvSpPr txBox="1"/>
          <p:nvPr/>
        </p:nvSpPr>
        <p:spPr>
          <a:xfrm>
            <a:off x="371440" y="6305788"/>
            <a:ext cx="8261946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LA" sz="1800" b="0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Siempre use su mejor criterio para asegurarse de que su comportamiento sea respetuos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7710745-2062-F17B-E90E-EA2A4D39D9B6}"/>
              </a:ext>
            </a:extLst>
          </p:cNvPr>
          <p:cNvSpPr txBox="1"/>
          <p:nvPr/>
        </p:nvSpPr>
        <p:spPr>
          <a:xfrm>
            <a:off x="822960" y="1528468"/>
            <a:ext cx="7847861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lgunos ejemplos de conductas que pueden conducir a un entorno de trabajo hostil incluyen...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066EC6C-DCB6-3357-ABD4-0298BB5F32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2057356"/>
              </p:ext>
            </p:extLst>
          </p:nvPr>
        </p:nvGraphicFramePr>
        <p:xfrm>
          <a:off x="905521" y="1897800"/>
          <a:ext cx="7084381" cy="46288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94826995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93504-B4E9-2A53-F774-60838F5F40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En el sitio frente a fuera del siti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041D41-19C3-C0F8-D7C8-57DBB24DE4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18E2935-DEEB-A2F1-2E13-5C287F21984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59020485"/>
              </p:ext>
            </p:extLst>
          </p:nvPr>
        </p:nvGraphicFramePr>
        <p:xfrm>
          <a:off x="1553473" y="2221778"/>
          <a:ext cx="5751576" cy="38088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3617987A-B474-0F02-9399-C3497F7BC0B9}"/>
              </a:ext>
            </a:extLst>
          </p:cNvPr>
          <p:cNvSpPr txBox="1"/>
          <p:nvPr/>
        </p:nvSpPr>
        <p:spPr>
          <a:xfrm>
            <a:off x="1989670" y="1620274"/>
            <a:ext cx="4879181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LA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s leyes y nuestras políticas también se aplican fuera del sitio, incluida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5B49E7-54D4-4F8F-19AA-C7F830247548}"/>
              </a:ext>
            </a:extLst>
          </p:cNvPr>
          <p:cNvSpPr txBox="1"/>
          <p:nvPr/>
        </p:nvSpPr>
        <p:spPr>
          <a:xfrm>
            <a:off x="551000" y="6125592"/>
            <a:ext cx="8042000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LA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s leyes y nuestras políticas se aplican a todos, independientemente de dónde puedan estar trabajando.</a:t>
            </a:r>
          </a:p>
        </p:txBody>
      </p:sp>
    </p:spTree>
    <p:extLst>
      <p:ext uri="{BB962C8B-B14F-4D97-AF65-F5344CB8AC3E}">
        <p14:creationId xmlns:p14="http://schemas.microsoft.com/office/powerpoint/2010/main" val="298079491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F838BE-D35C-18F4-DD18-076F9D973F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Discriminació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EE7B1D-3612-EFA3-F9DC-ECF372B09B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17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66F432-C4F6-FCEE-F1EB-C13A0EC3264F}"/>
              </a:ext>
            </a:extLst>
          </p:cNvPr>
          <p:cNvSpPr txBox="1"/>
          <p:nvPr/>
        </p:nvSpPr>
        <p:spPr>
          <a:xfrm>
            <a:off x="639192" y="2024108"/>
            <a:ext cx="3357166" cy="4754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discriminación puede afectar decisiones laborales importantes en torno a cómo las personas obtienen:</a:t>
            </a:r>
          </a:p>
          <a:p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ontrat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espedi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ag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romociona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egradado</a:t>
            </a:r>
          </a:p>
          <a:p>
            <a:endParaRPr lang="en-US"/>
          </a:p>
          <a:p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s leyes prohíben las decisiones basadas en fundamentos protegidos.</a:t>
            </a:r>
          </a:p>
          <a:p>
            <a:endParaRPr lang="en-US"/>
          </a:p>
          <a:p>
            <a:endParaRPr lang="en-US"/>
          </a:p>
        </p:txBody>
      </p:sp>
      <p:pic>
        <p:nvPicPr>
          <p:cNvPr id="9" name="Content Placeholder 8" descr="A person and person shaking hands&#10;&#10;Description automatically generated">
            <a:extLst>
              <a:ext uri="{FF2B5EF4-FFF2-40B4-BE49-F238E27FC236}">
                <a16:creationId xmlns:a16="http://schemas.microsoft.com/office/drawing/2014/main" id="{9C1D1F2A-121C-6765-A5A7-1F5882EF555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0" y="2152325"/>
            <a:ext cx="4140200" cy="3105150"/>
          </a:xfrm>
        </p:spPr>
      </p:pic>
    </p:spTree>
    <p:extLst>
      <p:ext uri="{BB962C8B-B14F-4D97-AF65-F5344CB8AC3E}">
        <p14:creationId xmlns:p14="http://schemas.microsoft.com/office/powerpoint/2010/main" val="981669481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74E336-4484-55C6-395A-D378598BF4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Acoso en el lugar de trabaj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FEABC1-0E2B-CA86-F809-3DA3A9B36182}"/>
              </a:ext>
            </a:extLst>
          </p:cNvPr>
          <p:cNvSpPr txBox="1"/>
          <p:nvPr/>
        </p:nvSpPr>
        <p:spPr>
          <a:xfrm>
            <a:off x="628650" y="1508760"/>
            <a:ext cx="3886200" cy="5135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es-LA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política de RPM prohíbe la conducta abusiva, como:</a:t>
            </a:r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endParaRPr lang="en-US" sz="2100"/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es-LA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coso en el lugar de trabajo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es-LA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coso moral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es-LA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coso psicológico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r>
              <a:rPr lang="es-LA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Victimización</a:t>
            </a:r>
            <a:endParaRPr lang="en-US" sz="2100"/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endParaRPr lang="en-US" sz="2100"/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es-LA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os comportamientos abusivos no serán tolerados y pueden dar lugar a medidas disciplinarias e incluso el despido. 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670D2939-C375-9080-79F4-79D7BEEB615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70412" y="1508125"/>
            <a:ext cx="3803676" cy="5135563"/>
          </a:xfrm>
        </p:spPr>
      </p:pic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1CE12886-C52E-1C5C-F8AC-E1C4DF71345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236543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4E63CD8-53B4-AF1A-FBA4-05945FE997A1}"/>
              </a:ext>
            </a:extLst>
          </p:cNvPr>
          <p:cNvSpPr txBox="1"/>
          <p:nvPr/>
        </p:nvSpPr>
        <p:spPr>
          <a:xfrm>
            <a:off x="431800" y="1508125"/>
            <a:ext cx="4071938" cy="4841875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/>
          <a:p>
            <a:pPr defTabSz="685749">
              <a:lnSpc>
                <a:spcPct val="90000"/>
              </a:lnSpc>
              <a:spcAft>
                <a:spcPts val="600"/>
              </a:spcAft>
            </a:pPr>
            <a:r>
              <a:rPr lang="es-LA" sz="26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scenario:</a:t>
            </a:r>
          </a:p>
          <a:p>
            <a:pPr indent="-171438" defTabSz="685749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/>
          </a:p>
          <a:p>
            <a:pPr defTabSz="685749">
              <a:lnSpc>
                <a:spcPct val="90000"/>
              </a:lnSpc>
              <a:spcAft>
                <a:spcPts val="600"/>
              </a:spcAft>
            </a:pPr>
            <a:r>
              <a:rPr lang="es-LA" sz="2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lguien en su trabajo hace una broma descolorida y la defiende diciendo que la había escuchado en un partido de fútbol reciente. </a:t>
            </a:r>
          </a:p>
          <a:p>
            <a:pPr indent="-171438" defTabSz="685749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/>
          </a:p>
          <a:p>
            <a:pPr defTabSz="685749">
              <a:lnSpc>
                <a:spcPct val="90000"/>
              </a:lnSpc>
              <a:spcAft>
                <a:spcPts val="600"/>
              </a:spcAft>
            </a:pPr>
            <a:r>
              <a:rPr lang="es-LA" sz="2600" b="0" i="1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¿Cree que es apropiado repetir bromas de esta naturaleza en el lugar de trabajo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25208C-D97C-1080-772A-E506B67C4128}"/>
              </a:ext>
            </a:extLst>
          </p:cNvPr>
          <p:cNvSpPr txBox="1"/>
          <p:nvPr/>
        </p:nvSpPr>
        <p:spPr>
          <a:xfrm>
            <a:off x="4880191" y="1508124"/>
            <a:ext cx="3927475" cy="4841875"/>
          </a:xfrm>
          <a:prstGeom prst="rect">
            <a:avLst/>
          </a:prstGeom>
          <a:noFill/>
        </p:spPr>
        <p:txBody>
          <a:bodyPr wrap="square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s-LA" sz="26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Respuesta:</a:t>
            </a:r>
          </a:p>
          <a:p>
            <a:pPr>
              <a:spcAft>
                <a:spcPts val="600"/>
              </a:spcAft>
            </a:pPr>
            <a:endParaRPr lang="en-GB" sz="2600"/>
          </a:p>
          <a:p>
            <a:pPr>
              <a:spcAft>
                <a:spcPts val="600"/>
              </a:spcAft>
            </a:pPr>
            <a:r>
              <a:rPr lang="es-LA" sz="2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l comportamiento ofensivo nunca está bien en un entorno de trabajo, incluso si algunos lo consideran aceptable en otros entornos o para otras audiencias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4F93A6-6B68-6A51-4F34-80231D8C0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Personal frente a trabaj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BF4237-341B-E413-CBB8-087B15F184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0145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0D3AE-8EA9-876D-8F7D-D72B87626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Prevención de la discriminación y el acoso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27906F-DB2C-FA2B-83AB-BA4E1ACCE5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2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671493-6848-DBAF-4C09-CA1EE485840B}"/>
              </a:ext>
            </a:extLst>
          </p:cNvPr>
          <p:cNvSpPr txBox="1"/>
          <p:nvPr/>
        </p:nvSpPr>
        <p:spPr>
          <a:xfrm>
            <a:off x="299213" y="2026062"/>
            <a:ext cx="8604504" cy="47548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LA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ontenido del curso</a:t>
            </a:r>
          </a:p>
          <a:p>
            <a:endParaRPr lang="en-GB"/>
          </a:p>
          <a:p>
            <a:pPr marL="342900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¿Qué es el acoso y la discriminación?</a:t>
            </a:r>
          </a:p>
          <a:p>
            <a:pPr marL="342900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omprensión de los terrenos protegidos </a:t>
            </a:r>
          </a:p>
          <a:p>
            <a:pPr marL="342900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coso sexual</a:t>
            </a:r>
          </a:p>
          <a:p>
            <a:pPr marL="342900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Quid Pro Quo/Entorno de trabajo hostil </a:t>
            </a:r>
          </a:p>
          <a:p>
            <a:pPr marL="342900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iscriminación</a:t>
            </a:r>
          </a:p>
          <a:p>
            <a:pPr marL="342900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omportamiento inapropiado</a:t>
            </a:r>
          </a:p>
          <a:p>
            <a:pPr marL="342900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coso en el lugar de trabajo</a:t>
            </a:r>
          </a:p>
          <a:p>
            <a:pPr marL="342900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etectar comportamientos no deseados</a:t>
            </a:r>
          </a:p>
          <a:p>
            <a:pPr marL="342900" indent="-342900">
              <a:buFont typeface="+mj-lt"/>
              <a:buAutoNum type="arabicPeriod"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Plantear inquietudes y represalias</a:t>
            </a:r>
          </a:p>
          <a:p>
            <a:pPr marL="342900" indent="-342900">
              <a:buFont typeface="+mj-lt"/>
              <a:buAutoNum type="arabicPeriod"/>
            </a:pPr>
            <a:endParaRPr lang="en-GB"/>
          </a:p>
          <a:p>
            <a:r>
              <a:rPr lang="es-LA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Si tiene alguna pregunta sobre la capacitación o sobre cómo se aplican los requisitos locales específicos, hable con su gerente, Recursos Humanos o comuníquese con </a:t>
            </a:r>
            <a:r>
              <a:rPr lang="es-LA" sz="1800" b="1" i="0" strike="noStrike" cap="none" spc="0" baseline="0">
                <a:solidFill>
                  <a:srgbClr val="008AFF"/>
                </a:solidFill>
                <a:effectLst/>
                <a:latin typeface="Calibri"/>
                <a:ea typeface="Calibri"/>
                <a:cs typeface="Calibri"/>
              </a:rPr>
              <a:t>compliance@rpminc.com</a:t>
            </a:r>
          </a:p>
          <a:p>
            <a:pPr marL="342900" indent="-342900">
              <a:buFont typeface="+mj-lt"/>
              <a:buAutoNum type="arabicPeriod"/>
            </a:pPr>
            <a:endParaRPr lang="en-GB"/>
          </a:p>
          <a:p>
            <a:pPr marL="342900" indent="-342900">
              <a:buFont typeface="+mj-lt"/>
              <a:buAutoNum type="arabicPeriod"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898915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D5DCA-792C-6FB9-BAC9-D3F76F7F9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Conducta en entornos de trabajo: pregunta para hacers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BAD8F0-78CD-0417-D5E3-330EB51977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graphicFrame>
        <p:nvGraphicFramePr>
          <p:cNvPr id="18" name="TextBox 8">
            <a:extLst>
              <a:ext uri="{FF2B5EF4-FFF2-40B4-BE49-F238E27FC236}">
                <a16:creationId xmlns:a16="http://schemas.microsoft.com/office/drawing/2014/main" id="{F2583A9D-281C-4C52-9347-26153EBC05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12389927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1158308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E1F89A-BFF8-A65E-BF48-AEE160C28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Espectador: detectar comportamientos no desead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3BD1DC-4EC2-EFA1-8D3E-8824C47949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LA" sz="1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s señales pueden ser tanto verbales como no verbales</a:t>
            </a:r>
          </a:p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7514DD-D440-21D7-095B-70FC70BAC0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21</a:t>
            </a:fld>
            <a:endParaRPr lang="en-US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B3FD9947-2372-778F-84F0-D2FAEFF1D8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3162674"/>
              </p:ext>
            </p:extLst>
          </p:nvPr>
        </p:nvGraphicFramePr>
        <p:xfrm>
          <a:off x="822960" y="212703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537229"/>
      </p:ext>
    </p:extLst>
  </p:cSld>
  <p:clrMapOvr>
    <a:masterClrMapping/>
  </p:clrMapOvr>
  <p:transition spd="med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80F103-B53A-E0D6-FC92-E87A68ECF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Qué hacer si ve un comportamiento inapropiado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1FFE694-DF65-A7CA-A6CD-EE2D7965DCCB}"/>
              </a:ext>
            </a:extLst>
          </p:cNvPr>
          <p:cNvSpPr txBox="1"/>
          <p:nvPr/>
        </p:nvSpPr>
        <p:spPr>
          <a:xfrm>
            <a:off x="4857750" y="1280160"/>
            <a:ext cx="3886200" cy="5135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es-LA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espués de recibir una queja, RPM llevará a cabo una investigación rápida, exhaustiva e imparcial, y tomará medidas correctivas inmediatas y apropiadas según corresponda. </a:t>
            </a:r>
          </a:p>
          <a:p>
            <a:pPr marL="171438" indent="-171438" defTabSz="685749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</a:pPr>
            <a:endParaRPr lang="en-US" sz="2100"/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es-LA" sz="21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n algunos lugares, las personas que violen las leyes pueden estar sujetas a sanciones civiles y penales.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CAC6A289-2555-7CE5-76F6-FCBF4B2E0BA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35D2C2CD-0245-DEC8-473D-8517566B1470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178588699"/>
              </p:ext>
            </p:extLst>
          </p:nvPr>
        </p:nvGraphicFramePr>
        <p:xfrm>
          <a:off x="628650" y="1508760"/>
          <a:ext cx="3886200" cy="5135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61251587"/>
      </p:ext>
    </p:extLst>
  </p:cSld>
  <p:clrMapOvr>
    <a:masterClrMapping/>
  </p:clrMapOvr>
  <p:transition spd="med"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B6B62-796B-C1D4-4763-5A20739A7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Política de no represalias de RPM 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C1BA9E3-9396-DBB5-8249-DC0FDEC133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508760"/>
            <a:ext cx="3886200" cy="5135424"/>
          </a:xfrm>
        </p:spPr>
        <p:txBody>
          <a:bodyPr>
            <a:normAutofit fontScale="95000"/>
          </a:bodyPr>
          <a:lstStyle/>
          <a:p>
            <a:pPr marL="0" indent="0">
              <a:buNone/>
            </a:pPr>
            <a:r>
              <a:rPr lang="es-LA" sz="16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Si tiene alguna inquietud o algo no se siente bien, hable.</a:t>
            </a:r>
          </a:p>
          <a:p>
            <a:r>
              <a:rPr lang="es-LA" sz="1600" b="0" i="0" strike="noStrike" cap="none" spc="0" baseline="0">
                <a:solidFill>
                  <a:srgbClr val="373535"/>
                </a:solidFill>
                <a:effectLst/>
                <a:latin typeface="Calibri"/>
                <a:ea typeface="Calibri"/>
                <a:cs typeface="Calibri"/>
              </a:rPr>
              <a:t>Puede informar su inquietud a su gerente, a RR. HH., al Departamento Legal y de Cumplimiento o a través de la línea directa de RPM.</a:t>
            </a:r>
          </a:p>
          <a:p>
            <a:endParaRPr lang="en-US" sz="1600">
              <a:solidFill>
                <a:srgbClr val="373535"/>
              </a:solidFill>
            </a:endParaRPr>
          </a:p>
          <a:p>
            <a:r>
              <a:rPr lang="es-LA" sz="1600" b="0" i="0" strike="noStrike" cap="none" spc="0" baseline="0">
                <a:solidFill>
                  <a:srgbClr val="373535"/>
                </a:solidFill>
                <a:effectLst/>
                <a:latin typeface="Calibri"/>
                <a:ea typeface="Calibri"/>
                <a:cs typeface="Calibri"/>
              </a:rPr>
              <a:t>Todos los informes de buena fe se toman en serio y se revisan cuidadosamente. Las denuncias de cualquier violación de la ley, nuestros valores y expectativas de 168 o comportamiento poco ético se investigarán de manera oportuna y adecuada.</a:t>
            </a:r>
          </a:p>
          <a:p>
            <a:endParaRPr lang="en-US" sz="1600"/>
          </a:p>
          <a:p>
            <a:pPr marL="0" marR="0" lvl="0" indent="0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s-LA" sz="16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Si denuncia una conducta indebida y la denuncia de buena fe, la política de represalias de RPM prohíbe que sea despedido, degradado, suspendido, reprendido, disciplinado, transferido, amenazado, acosado o discriminado de alguna manera por plantear sus inquietudes. </a:t>
            </a:r>
          </a:p>
          <a:p>
            <a:pPr marL="57162" marR="0" inden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None/>
            </a:pPr>
            <a:endParaRPr lang="en-US" sz="1700" kern="1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/>
          </a:p>
        </p:txBody>
      </p:sp>
      <p:pic>
        <p:nvPicPr>
          <p:cNvPr id="6" name="Content Placeholder 5" descr="A poster of a company&#10;&#10;Description automatically generated">
            <a:extLst>
              <a:ext uri="{FF2B5EF4-FFF2-40B4-BE49-F238E27FC236}">
                <a16:creationId xmlns:a16="http://schemas.microsoft.com/office/drawing/2014/main" id="{486A5F75-0C93-46BB-29E1-EEFA342C3D92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629150" y="1511323"/>
            <a:ext cx="3886200" cy="5130297"/>
          </a:xfrm>
          <a:noFill/>
        </p:spPr>
      </p:pic>
    </p:spTree>
    <p:extLst>
      <p:ext uri="{BB962C8B-B14F-4D97-AF65-F5344CB8AC3E}">
        <p14:creationId xmlns:p14="http://schemas.microsoft.com/office/powerpoint/2010/main" val="3534279248"/>
      </p:ext>
    </p:extLst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A7B45-5B3C-3DB0-1BE4-A2E8E5DFB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Represalia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81DFAF-2C91-7422-79F7-D1B6D66C8A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78DC15E-F928-C464-FBA0-36933CA4DB4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05503871"/>
              </p:ext>
            </p:extLst>
          </p:nvPr>
        </p:nvGraphicFramePr>
        <p:xfrm>
          <a:off x="432562" y="2160606"/>
          <a:ext cx="8074836" cy="43977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98B0EE6-D2E3-A34A-D0E6-B7CFF8ADAFCF}"/>
              </a:ext>
            </a:extLst>
          </p:cNvPr>
          <p:cNvSpPr txBox="1"/>
          <p:nvPr/>
        </p:nvSpPr>
        <p:spPr>
          <a:xfrm>
            <a:off x="432562" y="1470164"/>
            <a:ext cx="6995604" cy="365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jemplos de comportamiento de represalia:</a:t>
            </a:r>
          </a:p>
        </p:txBody>
      </p:sp>
    </p:spTree>
    <p:extLst>
      <p:ext uri="{BB962C8B-B14F-4D97-AF65-F5344CB8AC3E}">
        <p14:creationId xmlns:p14="http://schemas.microsoft.com/office/powerpoint/2010/main" val="3114590533"/>
      </p:ext>
    </p:extLst>
  </p:cSld>
  <p:clrMapOvr>
    <a:masterClrMapping/>
  </p:clrMapOvr>
  <p:transition spd="med"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00DF9-EC86-26D1-EB48-FAC8A23DB6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es-LA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¿Verdadero o falso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04A50-C316-495F-A22D-CFF6B8954D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Además de los gerentes, los compañeros de trabajo pueden participar en represalias prohibidas. 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11DF32BB-A75F-A819-0F62-EAD6E91DC80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ECA4A55-F7A7-46D2-6885-64D7C77172C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928972"/>
      </p:ext>
    </p:extLst>
  </p:cSld>
  <p:clrMapOvr>
    <a:masterClrMapping/>
  </p:clrMapOvr>
  <p:transition spd="med"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C93E8-D982-EE5F-722D-C8FFD4B1FB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/>
          <a:p>
            <a:r>
              <a:rPr lang="es-LA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Respuesta..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CED9B-3AA4-6657-52D7-A3AE595B4F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afirmación anterior es </a:t>
            </a:r>
            <a:r>
              <a:rPr lang="es-LA" sz="1800" b="1" i="0" strike="noStrike" cap="none" spc="0" baseline="0">
                <a:solidFill>
                  <a:srgbClr val="548235"/>
                </a:solidFill>
                <a:effectLst/>
                <a:latin typeface="Calibri"/>
                <a:ea typeface="Calibri"/>
                <a:cs typeface="Calibri"/>
              </a:rPr>
              <a:t>Verdadero</a:t>
            </a: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.</a:t>
            </a:r>
          </a:p>
          <a:p>
            <a:pPr marL="0" indent="0">
              <a:buNone/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ualquier persona puede participar en represalias. Esto incluye a cualquier gerente o compañero de trabajo que trate a alguien negativamente porque planteó una inquietud o queja de buena fe. 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B475D77-4434-8297-1245-1F15891FDD89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A324A152-4068-BF32-861E-706313346D3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215164"/>
      </p:ext>
    </p:extLst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0E09D-6897-4B77-6400-D2F29ADC8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LA" sz="21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Gracia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6490DC-2417-7F40-0F75-FE51C0D8A7A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LA" sz="1900" b="0" i="0" strike="noStrike" cap="none" spc="0" baseline="0">
                <a:solidFill>
                  <a:srgbClr val="9DC3E6"/>
                </a:solidFill>
                <a:effectLst/>
                <a:latin typeface="Calibri"/>
                <a:ea typeface="Calibri"/>
                <a:cs typeface="Calibri"/>
              </a:rPr>
              <a:t>Cualquier pregunt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BFC064-E450-DFF8-1DE8-AA171D254DE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s-LA" sz="900" b="0" i="0" strike="noStrike" cap="none" spc="0" baseline="0">
                <a:solidFill>
                  <a:srgbClr val="898989"/>
                </a:solidFill>
                <a:effectLst/>
                <a:latin typeface="Calibri"/>
                <a:ea typeface="Calibri"/>
                <a:cs typeface="Calibri"/>
              </a:rPr>
              <a:t>[NOMBRE DE EVENTA] [FECHA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E5CE9B-CFAD-F960-4423-47EF2ED4D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84641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7F4DD6-51D1-771A-AD6D-9F880AB71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Prevención de la discriminación y el acos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0A5B44-1D6A-1552-FB9B-24626E626C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59D3B30-F695-4079-1707-50E90A4119B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1243714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97889802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3D1B3-2675-F520-80FE-B41A6F28C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¿Qué es el acoso y la discriminación?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FB72F0-297D-5604-D514-2CB5A39DCC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4F99A9FE-9AEF-F820-F65C-BE5BE15E8F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1480152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526300358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E0B15D-6946-CDFC-CF72-E48A4D07B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Tierras protegida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4B8F4E0-B73C-7243-2528-40AE79BB37BD}"/>
              </a:ext>
            </a:extLst>
          </p:cNvPr>
          <p:cNvSpPr txBox="1"/>
          <p:nvPr/>
        </p:nvSpPr>
        <p:spPr>
          <a:xfrm>
            <a:off x="5488686" y="1059066"/>
            <a:ext cx="3454146" cy="1554480"/>
          </a:xfrm>
          <a:prstGeom prst="rect">
            <a:avLst/>
          </a:prstGeom>
        </p:spPr>
        <p:txBody>
          <a:bodyPr vert="horz" lIns="91440" tIns="45720" rIns="91440" bIns="45720" rtlCol="0">
            <a:normAutofit fontScale="97500"/>
          </a:bodyPr>
          <a:lstStyle/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es-LA" sz="21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Recuerde:</a:t>
            </a:r>
          </a:p>
          <a:p>
            <a:pPr defTabSz="685749">
              <a:lnSpc>
                <a:spcPct val="90000"/>
              </a:lnSpc>
              <a:spcBef>
                <a:spcPts val="750"/>
              </a:spcBef>
            </a:pPr>
            <a:r>
              <a:rPr lang="es-LA" sz="21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Trate a todos con respeto. No discrimine en un terreno protegido</a:t>
            </a:r>
          </a:p>
        </p:txBody>
      </p:sp>
      <p:graphicFrame>
        <p:nvGraphicFramePr>
          <p:cNvPr id="10" name="Content Placeholder 2">
            <a:extLst>
              <a:ext uri="{FF2B5EF4-FFF2-40B4-BE49-F238E27FC236}">
                <a16:creationId xmlns:a16="http://schemas.microsoft.com/office/drawing/2014/main" id="{504F7EF8-8C04-9AAF-56B7-B0D226A1EC06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50762908"/>
              </p:ext>
            </p:extLst>
          </p:nvPr>
        </p:nvGraphicFramePr>
        <p:xfrm>
          <a:off x="628650" y="2642616"/>
          <a:ext cx="8158734" cy="4001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979A9FCC-7447-B3A4-6B62-83027FAB83C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195FBB-B7DC-ED84-3875-07C254CEF76A}"/>
              </a:ext>
            </a:extLst>
          </p:cNvPr>
          <p:cNvSpPr txBox="1"/>
          <p:nvPr/>
        </p:nvSpPr>
        <p:spPr>
          <a:xfrm>
            <a:off x="628650" y="1639669"/>
            <a:ext cx="4213098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Dependiendo de dónde trabaje, estos motivos pueden incluir:</a:t>
            </a:r>
          </a:p>
        </p:txBody>
      </p:sp>
    </p:spTree>
    <p:extLst>
      <p:ext uri="{BB962C8B-B14F-4D97-AF65-F5344CB8AC3E}">
        <p14:creationId xmlns:p14="http://schemas.microsoft.com/office/powerpoint/2010/main" val="6327143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B3EB6-D382-7E5B-2128-1E2AD3387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7358907" cy="78703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Acoso sexu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3AC1A7-2052-7988-8268-65113A222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graphicFrame>
        <p:nvGraphicFramePr>
          <p:cNvPr id="11" name="TextBox 7">
            <a:extLst>
              <a:ext uri="{FF2B5EF4-FFF2-40B4-BE49-F238E27FC236}">
                <a16:creationId xmlns:a16="http://schemas.microsoft.com/office/drawing/2014/main" id="{29D13C8E-8DED-44C4-E9EA-CA8A2E5418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2310378"/>
              </p:ext>
            </p:extLst>
          </p:nvPr>
        </p:nvGraphicFramePr>
        <p:xfrm>
          <a:off x="432562" y="1508760"/>
          <a:ext cx="8074836" cy="4842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0958796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1066B-6332-D0B1-464F-82C26F9635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s-LA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¿VERDADERO O FALSO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39AE83-D0E3-35F9-4EDD-3B02A67DEA40}"/>
              </a:ext>
            </a:extLst>
          </p:cNvPr>
          <p:cNvSpPr txBox="1"/>
          <p:nvPr/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uando un empleado es testigo de un comportamiento de acoso, un </a:t>
            </a:r>
            <a:r>
              <a:rPr lang="es-LA" sz="1800" b="1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gerente</a:t>
            </a: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suele ser el mal actor.</a:t>
            </a:r>
            <a:endParaRPr lang="en-US" kern="1200"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68CECCB0-AD0A-475B-29B8-6C408B98E71A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3DB1538-D7D3-12C4-C7DC-486BD86701E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728087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32729-D1A0-2498-9446-B4C38D0513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s-LA" sz="4500" b="0" i="0" strike="noStrike" cap="none" spc="0" baseline="0">
                <a:solidFill>
                  <a:srgbClr val="000000"/>
                </a:solidFill>
                <a:effectLst/>
                <a:latin typeface="Calibri Light"/>
                <a:ea typeface="Calibri Light"/>
                <a:cs typeface="Calibri Light"/>
              </a:rPr>
              <a:t>Respuesta..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0F00E2-00FB-9955-A67E-6B6D62965415}"/>
              </a:ext>
            </a:extLst>
          </p:cNvPr>
          <p:cNvSpPr txBox="1"/>
          <p:nvPr/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a declaración anterior es </a:t>
            </a:r>
            <a:r>
              <a:rPr lang="es-LA" sz="1800" b="1" i="0" strike="noStrike" cap="none" spc="0" baseline="0">
                <a:solidFill>
                  <a:srgbClr val="FF0000"/>
                </a:solidFill>
                <a:effectLst/>
                <a:latin typeface="Calibri"/>
                <a:ea typeface="Calibri"/>
                <a:cs typeface="Calibri"/>
              </a:rPr>
              <a:t>FALSA</a:t>
            </a:r>
          </a:p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endParaRPr lang="en-US" kern="1200">
              <a:latin typeface="+mn-lt"/>
              <a:ea typeface="+mn-ea"/>
              <a:cs typeface="+mn-cs"/>
            </a:endParaRPr>
          </a:p>
          <a:p>
            <a:pPr algn="ctr" defTabSz="685749">
              <a:lnSpc>
                <a:spcPct val="90000"/>
              </a:lnSpc>
              <a:spcBef>
                <a:spcPts val="750"/>
              </a:spcBef>
            </a:pPr>
            <a:r>
              <a:rPr lang="es-LA" sz="1800" b="0" i="0" strike="noStrike" cap="none" spc="0" baseline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Los compañeros de trabajo tienen la misma probabilidad que los gerentes de participar en el acoso.</a:t>
            </a:r>
            <a:endParaRPr lang="en-US" kern="1200">
              <a:latin typeface="+mn-lt"/>
              <a:ea typeface="+mn-ea"/>
              <a:cs typeface="+mn-cs"/>
            </a:endParaRP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2D90AD7F-E22E-A72A-71B9-E3A237FA46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071717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1902E-2637-717F-B53D-572920A6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LA" sz="2000" b="0" i="0" strike="noStrike" cap="none" spc="0" baseline="0">
                <a:solidFill>
                  <a:srgbClr val="FFFFFF"/>
                </a:solidFill>
                <a:effectLst/>
                <a:latin typeface="Calibri Light"/>
                <a:ea typeface="Calibri Light"/>
                <a:cs typeface="Calibri Light"/>
              </a:rPr>
              <a:t>Entorno de trabajo hosti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57ADB30-AA57-FF7E-1163-C8F0957A0B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65760" y="1539696"/>
            <a:ext cx="3886200" cy="5135424"/>
          </a:xfrm>
        </p:spPr>
        <p:txBody>
          <a:bodyPr/>
          <a:lstStyle/>
          <a:p>
            <a:pPr marL="0" indent="0">
              <a:buNone/>
            </a:pPr>
            <a:r>
              <a:rPr lang="es-LA" sz="21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jemplo (acumulación de comentarios a lo largo del tiempo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s-LA" sz="21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           “Se ve bien, chica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s-LA" sz="21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“¿Por qué no sonríe más?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s-LA" sz="2100" b="0" i="0" strike="noStrike" cap="none" spc="0" baseline="0" dirty="0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“Usa tus dijes bólicos para ayudarte a entender”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3DB67EF-BBA9-553C-40B3-F0F1A8116F29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5449FD41-97DA-B96E-E874-37F373C3A50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graphicFrame>
        <p:nvGraphicFramePr>
          <p:cNvPr id="11" name="TextBox 8">
            <a:extLst>
              <a:ext uri="{FF2B5EF4-FFF2-40B4-BE49-F238E27FC236}">
                <a16:creationId xmlns:a16="http://schemas.microsoft.com/office/drawing/2014/main" id="{5C8EE2C3-03A6-ABAF-3E18-D116DCC72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8739873"/>
              </p:ext>
            </p:extLst>
          </p:nvPr>
        </p:nvGraphicFramePr>
        <p:xfrm>
          <a:off x="4629150" y="1508760"/>
          <a:ext cx="3886200" cy="5135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Cloud 9">
            <a:extLst>
              <a:ext uri="{FF2B5EF4-FFF2-40B4-BE49-F238E27FC236}">
                <a16:creationId xmlns:a16="http://schemas.microsoft.com/office/drawing/2014/main" id="{4973049F-7464-8CEC-6A0C-5251C1FF3DEA}"/>
              </a:ext>
            </a:extLst>
          </p:cNvPr>
          <p:cNvSpPr/>
          <p:nvPr/>
        </p:nvSpPr>
        <p:spPr>
          <a:xfrm>
            <a:off x="685799" y="2986314"/>
            <a:ext cx="2953511" cy="867042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FC81ACA9-37AB-3848-2CFF-062B6FE76A28}"/>
              </a:ext>
            </a:extLst>
          </p:cNvPr>
          <p:cNvSpPr/>
          <p:nvPr/>
        </p:nvSpPr>
        <p:spPr>
          <a:xfrm>
            <a:off x="193622" y="4076472"/>
            <a:ext cx="3694176" cy="1049922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1A002978-A98E-CB9D-6EC7-7BD47016C50B}"/>
              </a:ext>
            </a:extLst>
          </p:cNvPr>
          <p:cNvSpPr/>
          <p:nvPr/>
        </p:nvSpPr>
        <p:spPr>
          <a:xfrm>
            <a:off x="73150" y="5126394"/>
            <a:ext cx="4178808" cy="1482966"/>
          </a:xfrm>
          <a:prstGeom prst="cloud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143120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Unix 3.10.0.1160"/>
  <p:tag name="AS_RELEASE_DATE" val="2023.06.30"/>
  <p:tag name="AS_TITLE" val="Aspose.Slides for Java"/>
  <p:tag name="AS_VERSION" val="23.6"/>
  <p:tag name="THINKCELLPRESENTATIONDONOTDELETE" val="&lt;?xml version=&quot;1.0&quot; encoding=&quot;UTF-16&quot; standalone=&quot;yes&quot;?&gt;&lt;root reqver=&quot;24162&quot;&gt;&lt;version val=&quot;270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5.94189690230814804295E+00&quot;&gt;&lt;m_msothmcolidx val=&quot;0&quot;/&gt;&lt;m_rgb r=&quot;20&quot; g=&quot;38&quot; b=&quot;64&quot;/&gt;&lt;m_nBrightness tagver0=&quot;26206&quot; tagname0=&quot;m_nBrightnessUNRECOGNIZED&quot; val=&quot;0&quot;/&gt;&lt;/elem&gt;&lt;elem m_fUsage=&quot;1.90876410999999990281E+00&quot;&gt;&lt;m_msothmcolidx val=&quot;0&quot;/&gt;&lt;m_rgb r=&quot;F6&quot; g=&quot;F3&quot; b=&quot;EB&quot;/&gt;&lt;m_nBrightness tagver0=&quot;26206&quot; tagname0=&quot;m_nBrightnessUNRECOGNIZED&quot; val=&quot;0&quot;/&gt;&lt;/elem&gt;&lt;elem m_fUsage=&quot;1.56784161766145224703E+00&quot;&gt;&lt;m_msothmcolidx val=&quot;0&quot;/&gt;&lt;m_rgb r=&quot;EB&quot; g=&quot;EE&quot; b=&quot;E6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Iik6J0SZG7_0mBG8Xg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cjQMEtRZ.C8u5DBhC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PM IR PPT Standard - DRAFT - 12.14.18" id="{9CE6E63C-E94D-FB46-91E7-6AA3D17BB118}" vid="{90DFF340-5132-1E4A-9E8E-B23BC845A7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7a05af7-d3ec-4963-864c-209504fa34de">
      <Terms xmlns="http://schemas.microsoft.com/office/infopath/2007/PartnerControls"/>
    </lcf76f155ced4ddcb4097134ff3c332f>
    <TaxCatchAll xmlns="2ed82cd1-6b84-4a0b-9746-0d197a81b83d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90C2D6ED61D4479406C8DA89CF0878" ma:contentTypeVersion="18" ma:contentTypeDescription="Create a new document." ma:contentTypeScope="" ma:versionID="9fab1500bc2d3a4d890516a255717ef1">
  <xsd:schema xmlns:xsd="http://www.w3.org/2001/XMLSchema" xmlns:xs="http://www.w3.org/2001/XMLSchema" xmlns:p="http://schemas.microsoft.com/office/2006/metadata/properties" xmlns:ns2="d7a05af7-d3ec-4963-864c-209504fa34de" xmlns:ns3="2ed82cd1-6b84-4a0b-9746-0d197a81b83d" targetNamespace="http://schemas.microsoft.com/office/2006/metadata/properties" ma:root="true" ma:fieldsID="1d2897f00ee0e34ba7a8446ba2849d29" ns2:_="" ns3:_="">
    <xsd:import namespace="d7a05af7-d3ec-4963-864c-209504fa34de"/>
    <xsd:import namespace="2ed82cd1-6b84-4a0b-9746-0d197a81b8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a05af7-d3ec-4963-864c-209504fa34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ec43bc27-0046-4300-b48a-2db9dc89119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82cd1-6b84-4a0b-9746-0d197a81b83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7600404-635a-4f52-8c6e-abf865231489}" ma:internalName="TaxCatchAll" ma:showField="CatchAllData" ma:web="2ed82cd1-6b84-4a0b-9746-0d197a81b83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56CADE9-4D3D-4C64-A002-EFFA1FA05E14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2f06a283-6e2a-4468-871b-e6c63acdb121"/>
    <ds:schemaRef ds:uri="f8d36d2f-c42f-4f1f-9b2f-abc69cc7a5ad"/>
    <ds:schemaRef ds:uri="http://www.w3.org/XML/1998/namespace"/>
    <ds:schemaRef ds:uri="d7a05af7-d3ec-4963-864c-209504fa34de"/>
    <ds:schemaRef ds:uri="2ed82cd1-6b84-4a0b-9746-0d197a81b83d"/>
  </ds:schemaRefs>
</ds:datastoreItem>
</file>

<file path=customXml/itemProps2.xml><?xml version="1.0" encoding="utf-8"?>
<ds:datastoreItem xmlns:ds="http://schemas.openxmlformats.org/officeDocument/2006/customXml" ds:itemID="{716B392D-E5BF-4564-B6BF-23992C910A2D}">
  <ds:schemaRefs/>
</ds:datastoreItem>
</file>

<file path=customXml/itemProps3.xml><?xml version="1.0" encoding="utf-8"?>
<ds:datastoreItem xmlns:ds="http://schemas.openxmlformats.org/officeDocument/2006/customXml" ds:itemID="{FC480F10-BE65-4D28-A54D-405435C8ED7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PM IR PPT Standard - DRAFT - 12.14.18</Template>
  <TotalTime>12371</TotalTime>
  <Words>1864</Words>
  <Application>Microsoft Office PowerPoint</Application>
  <PresentationFormat>On-screen Show (4:3)</PresentationFormat>
  <Paragraphs>246</Paragraphs>
  <Slides>2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Prevención de la discriminación y el acoso </vt:lpstr>
      <vt:lpstr>Prevención de la discriminación y el acoso</vt:lpstr>
      <vt:lpstr>¿Qué es el acoso y la discriminación? </vt:lpstr>
      <vt:lpstr>Tierras protegidas</vt:lpstr>
      <vt:lpstr>Acoso sexual</vt:lpstr>
      <vt:lpstr>¿VERDADERO O FALSO?</vt:lpstr>
      <vt:lpstr>Respuesta...</vt:lpstr>
      <vt:lpstr>Entorno de trabajo hostil</vt:lpstr>
      <vt:lpstr>Estereotipos de género</vt:lpstr>
      <vt:lpstr>¿VERDADERO O FALSO?</vt:lpstr>
      <vt:lpstr>Respuesta...</vt:lpstr>
      <vt:lpstr>Acoso sexual: ¿puede detectarlo? </vt:lpstr>
      <vt:lpstr>Lenguaje y comentarios inapropiados</vt:lpstr>
      <vt:lpstr>Entorno de trabajo hostil</vt:lpstr>
      <vt:lpstr>En el sitio frente a fuera del sitio</vt:lpstr>
      <vt:lpstr>Discriminación</vt:lpstr>
      <vt:lpstr>Acoso en el lugar de trabajo</vt:lpstr>
      <vt:lpstr>Personal frente a trabajo</vt:lpstr>
      <vt:lpstr>Conducta en entornos de trabajo: pregunta para hacerse</vt:lpstr>
      <vt:lpstr>Espectador: detectar comportamientos no deseados</vt:lpstr>
      <vt:lpstr>Qué hacer si ve un comportamiento inapropiado</vt:lpstr>
      <vt:lpstr>Política de no represalias de RPM </vt:lpstr>
      <vt:lpstr>Represalias </vt:lpstr>
      <vt:lpstr>¿Verdadero o falso?</vt:lpstr>
      <vt:lpstr>Respuesta...</vt:lpstr>
      <vt:lpstr>Gracia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nn DeChant</dc:creator>
  <cp:lastModifiedBy>Shelley Earl</cp:lastModifiedBy>
  <cp:revision>36</cp:revision>
  <cp:lastPrinted>2020-04-30T20:14:04Z</cp:lastPrinted>
  <dcterms:created xsi:type="dcterms:W3CDTF">2018-12-18T18:53:57Z</dcterms:created>
  <dcterms:modified xsi:type="dcterms:W3CDTF">2024-03-25T18:2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90C2D6ED61D4479406C8DA89CF0878</vt:lpwstr>
  </property>
  <property fmtid="{D5CDD505-2E9C-101B-9397-08002B2CF9AE}" pid="3" name="MediaServiceImageTags">
    <vt:lpwstr/>
  </property>
</Properties>
</file>